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7"/>
  </p:notesMasterIdLst>
  <p:handoutMasterIdLst>
    <p:handoutMasterId r:id="rId8"/>
  </p:handoutMasterIdLst>
  <p:sldIdLst>
    <p:sldId id="2147483251" r:id="rId5"/>
    <p:sldId id="2147483252" r:id="rId6"/>
  </p:sldIdLst>
  <p:sldSz cx="12192000" cy="6858000"/>
  <p:notesSz cx="6735763" cy="9866313"/>
  <p:custDataLst>
    <p:tags r:id="rId9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257" userDrawn="1">
          <p15:clr>
            <a:srgbClr val="FBAE40"/>
          </p15:clr>
        </p15:guide>
        <p15:guide id="2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8">
          <p15:clr>
            <a:srgbClr val="A4A3A4"/>
          </p15:clr>
        </p15:guide>
        <p15:guide id="2" pos="2122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3020A1B-B2E1-7666-A77A-2C8A8E2FAD82}" name="Yamawaki Takayuki" initials="YT" userId="Yamawaki Takayuki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2B3C"/>
    <a:srgbClr val="48525C"/>
    <a:srgbClr val="DBDDDD"/>
    <a:srgbClr val="F3F6F6"/>
    <a:srgbClr val="4F50B6"/>
    <a:srgbClr val="C2C7E5"/>
    <a:srgbClr val="42517F"/>
    <a:srgbClr val="2D396A"/>
    <a:srgbClr val="A0153A"/>
    <a:srgbClr val="016F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8E00974-09F9-457F-84D5-732EC734A80D}" v="2491" dt="2025-02-19T11:35:28.192"/>
  </p1510:revLst>
</p1510:revInfo>
</file>

<file path=ppt/tableStyles.xml><?xml version="1.0" encoding="utf-8"?>
<a:tblStyleLst xmlns:a="http://schemas.openxmlformats.org/drawingml/2006/main" def="{7DF18680-E054-41AD-8BC1-D1AEF772440D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淡色スタイル 3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73A0DAA-6AF3-43AB-8588-CEC1D06C72B9}" styleName="スタイル (中間)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中間スタイル 2 - アクセント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25E5076-3810-47DD-B79F-674D7AD40C01}" styleName="濃色スタイル 1 - アクセント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濃色スタイル 1 - アクセント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D03447BB-5D67-496B-8E87-E561075AD55C}" styleName="濃色スタイル 1 - アクセント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929F9F4-4A8F-4326-A1B4-22849713DDAB}" styleName="濃色スタイル 1 - アクセント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濃色スタイル 1 - アクセント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46F890A9-2807-4EBB-B81D-B2AA78EC7F39}" styleName="濃色スタイル 2 - アクセント 5/アクセント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1EBBBCC-DAD2-459C-BE2E-F6DE35CF9A28}" styleName="濃色スタイル 2 - アクセント 3/アクセント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660B408-B3CF-4A94-85FC-2B1E0A45F4A2}" styleName="濃色スタイル 2 - アクセント 1/アクセント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202B0CA-FC54-4496-8BCA-5EF66A818D29}" styleName="スタイル (濃色)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8034E78-7F5D-4C2E-B375-FC64B27BC917}" styleName="スタイル (濃色)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濃色スタイル 1 - アクセント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D7AC3CCA-C797-4891-BE02-D94E43425B78}" styleName="スタイル (中間)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9CF1AB2-1976-4502-BF36-3FF5EA218861}" styleName="中間スタイル 4 - アクセント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8A107856-5554-42FB-B03E-39F5DBC370BA}" styleName="中間スタイル 4 - アクセント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0505E3EF-67EA-436B-97B2-0124C06EBD24}" styleName="中間スタイル 4 - アクセント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22838BEF-8BB2-4498-84A7-C5851F593DF1}" styleName="中間スタイル 4 - アクセント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16D9F66E-5EB9-4882-86FB-DCBF35E3C3E4}" styleName="中間スタイル 4 - アクセント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74C1A8A3-306A-4EB7-A6B1-4F7E0EB9C5D6}" styleName="中間スタイル 3 - アクセント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A488322-F2BA-4B5B-9748-0D474271808F}" styleName="中間スタイル 3 - アクセント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B9631B5-78F2-41C9-869B-9F39066F8104}" styleName="中間スタイル 3 - アクセント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B344D84-9AFB-497E-A393-DC336BA19D2E}" styleName="中間スタイル 3 - アクセント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中間スタイル 3 - アクセント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E25E649-3F16-4E02-A733-19D2CDBF48F0}" styleName="中間スタイル 3 - アクセント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EC20E35-A176-4012-BC5E-935CFFF8708E}" styleName="スタイル (中間)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中間スタイル 2 - アクセント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中間スタイル 2 - アクセント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0A1B5D5-9B99-4C35-A422-299274C87663}" styleName="中間スタイル 1 - アクセント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FABFCF23-3B69-468F-B69F-88F6DE6A72F2}" styleName="中間スタイル 1 - アクセント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E171933-4619-4E11-9A3F-F7608DF75F80}" styleName="中間スタイル 1 - アクセント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1FECB4D8-DB02-4DC6-A0A2-4F2EBAE1DC90}" styleName="中間スタイル 1 - アクセント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B301B821-A1FF-4177-AEE7-76D212191A09}" styleName="中間スタイル 1 - アクセント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93D81CF-94F2-401A-BA57-92F5A7B2D0C5}" styleName="スタイル (中間)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8B1032C-EA38-4F05-BA0D-38AFFFC7BED3}" styleName="淡色スタイル 3 - アクセント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DBED569-4797-4DF1-A0F4-6AAB3CD982D8}" styleName="淡色スタイル 3 - アクセント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A111915-BE36-4E01-A7E5-04B1672EAD32}" styleName="淡色スタイル 2 - アクセント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5FD0F851-EC5A-4D38-B0AD-8093EC10F338}" styleName="淡色スタイル 1 - アクセント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498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300" y="114"/>
      </p:cViewPr>
      <p:guideLst>
        <p:guide pos="257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08"/>
        <p:guide pos="212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tsui, Kenta" userId="6ce48ff2-524e-4a52-b040-ec4be8ce3267" providerId="ADAL" clId="{38E00974-09F9-457F-84D5-732EC734A80D}"/>
    <pc:docChg chg="undo redo custSel addSld delSld modSld sldOrd modMainMaster">
      <pc:chgData name="Matsui, Kenta" userId="6ce48ff2-524e-4a52-b040-ec4be8ce3267" providerId="ADAL" clId="{38E00974-09F9-457F-84D5-732EC734A80D}" dt="2025-02-19T11:35:31.047" v="25449" actId="47"/>
      <pc:docMkLst>
        <pc:docMk/>
      </pc:docMkLst>
      <pc:sldChg chg="del">
        <pc:chgData name="Matsui, Kenta" userId="6ce48ff2-524e-4a52-b040-ec4be8ce3267" providerId="ADAL" clId="{38E00974-09F9-457F-84D5-732EC734A80D}" dt="2025-02-17T09:53:53.545" v="4859" actId="47"/>
        <pc:sldMkLst>
          <pc:docMk/>
          <pc:sldMk cId="778746673" sldId="256"/>
        </pc:sldMkLst>
      </pc:sldChg>
      <pc:sldChg chg="del">
        <pc:chgData name="Matsui, Kenta" userId="6ce48ff2-524e-4a52-b040-ec4be8ce3267" providerId="ADAL" clId="{38E00974-09F9-457F-84D5-732EC734A80D}" dt="2025-02-17T11:13:43.603" v="11024" actId="47"/>
        <pc:sldMkLst>
          <pc:docMk/>
          <pc:sldMk cId="1870474483" sldId="258"/>
        </pc:sldMkLst>
      </pc:sldChg>
      <pc:sldChg chg="del">
        <pc:chgData name="Matsui, Kenta" userId="6ce48ff2-524e-4a52-b040-ec4be8ce3267" providerId="ADAL" clId="{38E00974-09F9-457F-84D5-732EC734A80D}" dt="2025-02-17T11:13:43.603" v="11024" actId="47"/>
        <pc:sldMkLst>
          <pc:docMk/>
          <pc:sldMk cId="2203429607" sldId="259"/>
        </pc:sldMkLst>
      </pc:sldChg>
      <pc:sldChg chg="del">
        <pc:chgData name="Matsui, Kenta" userId="6ce48ff2-524e-4a52-b040-ec4be8ce3267" providerId="ADAL" clId="{38E00974-09F9-457F-84D5-732EC734A80D}" dt="2025-02-17T09:53:53.545" v="4859" actId="47"/>
        <pc:sldMkLst>
          <pc:docMk/>
          <pc:sldMk cId="1160037626" sldId="263"/>
        </pc:sldMkLst>
      </pc:sldChg>
      <pc:sldChg chg="addSp delSp modSp add del mod modClrScheme chgLayout">
        <pc:chgData name="Matsui, Kenta" userId="6ce48ff2-524e-4a52-b040-ec4be8ce3267" providerId="ADAL" clId="{38E00974-09F9-457F-84D5-732EC734A80D}" dt="2025-02-17T09:38:21.024" v="4750" actId="47"/>
        <pc:sldMkLst>
          <pc:docMk/>
          <pc:sldMk cId="2534189450" sldId="362"/>
        </pc:sldMkLst>
      </pc:sldChg>
      <pc:sldChg chg="add del">
        <pc:chgData name="Matsui, Kenta" userId="6ce48ff2-524e-4a52-b040-ec4be8ce3267" providerId="ADAL" clId="{38E00974-09F9-457F-84D5-732EC734A80D}" dt="2025-02-14T06:44:53.174" v="153" actId="2696"/>
        <pc:sldMkLst>
          <pc:docMk/>
          <pc:sldMk cId="2884463433" sldId="362"/>
        </pc:sldMkLst>
      </pc:sldChg>
      <pc:sldChg chg="modSp del mod">
        <pc:chgData name="Matsui, Kenta" userId="6ce48ff2-524e-4a52-b040-ec4be8ce3267" providerId="ADAL" clId="{38E00974-09F9-457F-84D5-732EC734A80D}" dt="2025-02-17T11:13:43.603" v="11024" actId="47"/>
        <pc:sldMkLst>
          <pc:docMk/>
          <pc:sldMk cId="4212629611" sldId="2147483183"/>
        </pc:sldMkLst>
      </pc:sldChg>
      <pc:sldChg chg="del">
        <pc:chgData name="Matsui, Kenta" userId="6ce48ff2-524e-4a52-b040-ec4be8ce3267" providerId="ADAL" clId="{38E00974-09F9-457F-84D5-732EC734A80D}" dt="2025-02-17T09:53:53.545" v="4859" actId="47"/>
        <pc:sldMkLst>
          <pc:docMk/>
          <pc:sldMk cId="638231452" sldId="2147483184"/>
        </pc:sldMkLst>
      </pc:sldChg>
      <pc:sldChg chg="del">
        <pc:chgData name="Matsui, Kenta" userId="6ce48ff2-524e-4a52-b040-ec4be8ce3267" providerId="ADAL" clId="{38E00974-09F9-457F-84D5-732EC734A80D}" dt="2025-02-17T11:13:43.603" v="11024" actId="47"/>
        <pc:sldMkLst>
          <pc:docMk/>
          <pc:sldMk cId="1486880738" sldId="2147483185"/>
        </pc:sldMkLst>
      </pc:sldChg>
      <pc:sldChg chg="del">
        <pc:chgData name="Matsui, Kenta" userId="6ce48ff2-524e-4a52-b040-ec4be8ce3267" providerId="ADAL" clId="{38E00974-09F9-457F-84D5-732EC734A80D}" dt="2025-02-17T11:13:43.603" v="11024" actId="47"/>
        <pc:sldMkLst>
          <pc:docMk/>
          <pc:sldMk cId="3055225287" sldId="2147483186"/>
        </pc:sldMkLst>
      </pc:sldChg>
      <pc:sldChg chg="del">
        <pc:chgData name="Matsui, Kenta" userId="6ce48ff2-524e-4a52-b040-ec4be8ce3267" providerId="ADAL" clId="{38E00974-09F9-457F-84D5-732EC734A80D}" dt="2025-02-17T11:13:43.603" v="11024" actId="47"/>
        <pc:sldMkLst>
          <pc:docMk/>
          <pc:sldMk cId="1859330147" sldId="2147483187"/>
        </pc:sldMkLst>
      </pc:sldChg>
      <pc:sldChg chg="del">
        <pc:chgData name="Matsui, Kenta" userId="6ce48ff2-524e-4a52-b040-ec4be8ce3267" providerId="ADAL" clId="{38E00974-09F9-457F-84D5-732EC734A80D}" dt="2025-02-17T11:13:43.603" v="11024" actId="47"/>
        <pc:sldMkLst>
          <pc:docMk/>
          <pc:sldMk cId="3836884858" sldId="2147483188"/>
        </pc:sldMkLst>
      </pc:sldChg>
      <pc:sldChg chg="del">
        <pc:chgData name="Matsui, Kenta" userId="6ce48ff2-524e-4a52-b040-ec4be8ce3267" providerId="ADAL" clId="{38E00974-09F9-457F-84D5-732EC734A80D}" dt="2025-02-17T11:13:43.603" v="11024" actId="47"/>
        <pc:sldMkLst>
          <pc:docMk/>
          <pc:sldMk cId="833146735" sldId="2147483189"/>
        </pc:sldMkLst>
      </pc:sldChg>
      <pc:sldChg chg="del">
        <pc:chgData name="Matsui, Kenta" userId="6ce48ff2-524e-4a52-b040-ec4be8ce3267" providerId="ADAL" clId="{38E00974-09F9-457F-84D5-732EC734A80D}" dt="2025-02-17T11:13:43.603" v="11024" actId="47"/>
        <pc:sldMkLst>
          <pc:docMk/>
          <pc:sldMk cId="1227346380" sldId="2147483190"/>
        </pc:sldMkLst>
      </pc:sldChg>
      <pc:sldChg chg="del">
        <pc:chgData name="Matsui, Kenta" userId="6ce48ff2-524e-4a52-b040-ec4be8ce3267" providerId="ADAL" clId="{38E00974-09F9-457F-84D5-732EC734A80D}" dt="2025-02-17T11:13:43.603" v="11024" actId="47"/>
        <pc:sldMkLst>
          <pc:docMk/>
          <pc:sldMk cId="80964617" sldId="2147483191"/>
        </pc:sldMkLst>
      </pc:sldChg>
      <pc:sldChg chg="del">
        <pc:chgData name="Matsui, Kenta" userId="6ce48ff2-524e-4a52-b040-ec4be8ce3267" providerId="ADAL" clId="{38E00974-09F9-457F-84D5-732EC734A80D}" dt="2025-02-17T11:13:43.603" v="11024" actId="47"/>
        <pc:sldMkLst>
          <pc:docMk/>
          <pc:sldMk cId="966085223" sldId="2147483192"/>
        </pc:sldMkLst>
      </pc:sldChg>
      <pc:sldChg chg="del">
        <pc:chgData name="Matsui, Kenta" userId="6ce48ff2-524e-4a52-b040-ec4be8ce3267" providerId="ADAL" clId="{38E00974-09F9-457F-84D5-732EC734A80D}" dt="2025-02-17T11:13:43.603" v="11024" actId="47"/>
        <pc:sldMkLst>
          <pc:docMk/>
          <pc:sldMk cId="2543612964" sldId="2147483193"/>
        </pc:sldMkLst>
      </pc:sldChg>
      <pc:sldChg chg="del">
        <pc:chgData name="Matsui, Kenta" userId="6ce48ff2-524e-4a52-b040-ec4be8ce3267" providerId="ADAL" clId="{38E00974-09F9-457F-84D5-732EC734A80D}" dt="2025-02-17T11:13:43.603" v="11024" actId="47"/>
        <pc:sldMkLst>
          <pc:docMk/>
          <pc:sldMk cId="352208872" sldId="2147483194"/>
        </pc:sldMkLst>
      </pc:sldChg>
      <pc:sldChg chg="addSp delSp modSp del mod chgLayout">
        <pc:chgData name="Matsui, Kenta" userId="6ce48ff2-524e-4a52-b040-ec4be8ce3267" providerId="ADAL" clId="{38E00974-09F9-457F-84D5-732EC734A80D}" dt="2025-02-17T11:13:43.603" v="11024" actId="47"/>
        <pc:sldMkLst>
          <pc:docMk/>
          <pc:sldMk cId="2290415982" sldId="2147483195"/>
        </pc:sldMkLst>
      </pc:sldChg>
      <pc:sldChg chg="del">
        <pc:chgData name="Matsui, Kenta" userId="6ce48ff2-524e-4a52-b040-ec4be8ce3267" providerId="ADAL" clId="{38E00974-09F9-457F-84D5-732EC734A80D}" dt="2025-02-17T11:13:43.603" v="11024" actId="47"/>
        <pc:sldMkLst>
          <pc:docMk/>
          <pc:sldMk cId="3195322893" sldId="2147483196"/>
        </pc:sldMkLst>
      </pc:sldChg>
      <pc:sldChg chg="del">
        <pc:chgData name="Matsui, Kenta" userId="6ce48ff2-524e-4a52-b040-ec4be8ce3267" providerId="ADAL" clId="{38E00974-09F9-457F-84D5-732EC734A80D}" dt="2025-02-17T11:13:43.603" v="11024" actId="47"/>
        <pc:sldMkLst>
          <pc:docMk/>
          <pc:sldMk cId="302139452" sldId="2147483197"/>
        </pc:sldMkLst>
      </pc:sldChg>
      <pc:sldChg chg="del">
        <pc:chgData name="Matsui, Kenta" userId="6ce48ff2-524e-4a52-b040-ec4be8ce3267" providerId="ADAL" clId="{38E00974-09F9-457F-84D5-732EC734A80D}" dt="2025-02-17T11:13:43.603" v="11024" actId="47"/>
        <pc:sldMkLst>
          <pc:docMk/>
          <pc:sldMk cId="4169171962" sldId="2147483198"/>
        </pc:sldMkLst>
      </pc:sldChg>
      <pc:sldChg chg="del">
        <pc:chgData name="Matsui, Kenta" userId="6ce48ff2-524e-4a52-b040-ec4be8ce3267" providerId="ADAL" clId="{38E00974-09F9-457F-84D5-732EC734A80D}" dt="2025-02-17T11:13:43.603" v="11024" actId="47"/>
        <pc:sldMkLst>
          <pc:docMk/>
          <pc:sldMk cId="2141857724" sldId="2147483199"/>
        </pc:sldMkLst>
      </pc:sldChg>
      <pc:sldChg chg="del">
        <pc:chgData name="Matsui, Kenta" userId="6ce48ff2-524e-4a52-b040-ec4be8ce3267" providerId="ADAL" clId="{38E00974-09F9-457F-84D5-732EC734A80D}" dt="2025-02-17T11:13:43.603" v="11024" actId="47"/>
        <pc:sldMkLst>
          <pc:docMk/>
          <pc:sldMk cId="3042959323" sldId="2147483200"/>
        </pc:sldMkLst>
      </pc:sldChg>
      <pc:sldChg chg="del">
        <pc:chgData name="Matsui, Kenta" userId="6ce48ff2-524e-4a52-b040-ec4be8ce3267" providerId="ADAL" clId="{38E00974-09F9-457F-84D5-732EC734A80D}" dt="2025-02-17T11:13:43.603" v="11024" actId="47"/>
        <pc:sldMkLst>
          <pc:docMk/>
          <pc:sldMk cId="3124019766" sldId="2147483201"/>
        </pc:sldMkLst>
      </pc:sldChg>
      <pc:sldChg chg="del">
        <pc:chgData name="Matsui, Kenta" userId="6ce48ff2-524e-4a52-b040-ec4be8ce3267" providerId="ADAL" clId="{38E00974-09F9-457F-84D5-732EC734A80D}" dt="2025-02-17T11:13:43.603" v="11024" actId="47"/>
        <pc:sldMkLst>
          <pc:docMk/>
          <pc:sldMk cId="4099036562" sldId="2147483202"/>
        </pc:sldMkLst>
      </pc:sldChg>
      <pc:sldChg chg="del">
        <pc:chgData name="Matsui, Kenta" userId="6ce48ff2-524e-4a52-b040-ec4be8ce3267" providerId="ADAL" clId="{38E00974-09F9-457F-84D5-732EC734A80D}" dt="2025-02-17T11:13:43.603" v="11024" actId="47"/>
        <pc:sldMkLst>
          <pc:docMk/>
          <pc:sldMk cId="1699168511" sldId="2147483203"/>
        </pc:sldMkLst>
      </pc:sldChg>
      <pc:sldChg chg="addSp delSp modSp del mod">
        <pc:chgData name="Matsui, Kenta" userId="6ce48ff2-524e-4a52-b040-ec4be8ce3267" providerId="ADAL" clId="{38E00974-09F9-457F-84D5-732EC734A80D}" dt="2025-02-17T11:13:43.603" v="11024" actId="47"/>
        <pc:sldMkLst>
          <pc:docMk/>
          <pc:sldMk cId="1679810160" sldId="2147483204"/>
        </pc:sldMkLst>
      </pc:sldChg>
      <pc:sldChg chg="add">
        <pc:chgData name="Matsui, Kenta" userId="6ce48ff2-524e-4a52-b040-ec4be8ce3267" providerId="ADAL" clId="{38E00974-09F9-457F-84D5-732EC734A80D}" dt="2025-02-14T06:44:56.283" v="154"/>
        <pc:sldMkLst>
          <pc:docMk/>
          <pc:sldMk cId="739953936" sldId="2147483205"/>
        </pc:sldMkLst>
      </pc:sldChg>
      <pc:sldChg chg="modSp add del mod ord">
        <pc:chgData name="Matsui, Kenta" userId="6ce48ff2-524e-4a52-b040-ec4be8ce3267" providerId="ADAL" clId="{38E00974-09F9-457F-84D5-732EC734A80D}" dt="2025-02-14T06:44:53.174" v="153" actId="2696"/>
        <pc:sldMkLst>
          <pc:docMk/>
          <pc:sldMk cId="3403288890" sldId="2147483205"/>
        </pc:sldMkLst>
      </pc:sldChg>
      <pc:sldChg chg="addSp delSp modSp add mod modClrScheme chgLayout">
        <pc:chgData name="Matsui, Kenta" userId="6ce48ff2-524e-4a52-b040-ec4be8ce3267" providerId="ADAL" clId="{38E00974-09F9-457F-84D5-732EC734A80D}" dt="2025-02-17T08:22:24.740" v="3797" actId="113"/>
        <pc:sldMkLst>
          <pc:docMk/>
          <pc:sldMk cId="2836287494" sldId="2147483206"/>
        </pc:sldMkLst>
        <pc:spChg chg="add mod">
          <ac:chgData name="Matsui, Kenta" userId="6ce48ff2-524e-4a52-b040-ec4be8ce3267" providerId="ADAL" clId="{38E00974-09F9-457F-84D5-732EC734A80D}" dt="2025-02-17T08:22:19.253" v="3794" actId="113"/>
          <ac:spMkLst>
            <pc:docMk/>
            <pc:sldMk cId="2836287494" sldId="2147483206"/>
            <ac:spMk id="3" creationId="{0A2FDCCE-1DF7-80E5-1366-BAC34FDAAA52}"/>
          </ac:spMkLst>
        </pc:spChg>
        <pc:spChg chg="add mod">
          <ac:chgData name="Matsui, Kenta" userId="6ce48ff2-524e-4a52-b040-ec4be8ce3267" providerId="ADAL" clId="{38E00974-09F9-457F-84D5-732EC734A80D}" dt="2025-02-17T08:22:20.891" v="3795" actId="113"/>
          <ac:spMkLst>
            <pc:docMk/>
            <pc:sldMk cId="2836287494" sldId="2147483206"/>
            <ac:spMk id="4" creationId="{3A22A099-219F-427E-AD51-B31D663511B6}"/>
          </ac:spMkLst>
        </pc:spChg>
        <pc:spChg chg="mod ord">
          <ac:chgData name="Matsui, Kenta" userId="6ce48ff2-524e-4a52-b040-ec4be8ce3267" providerId="ADAL" clId="{38E00974-09F9-457F-84D5-732EC734A80D}" dt="2025-02-14T06:48:40.957" v="243"/>
          <ac:spMkLst>
            <pc:docMk/>
            <pc:sldMk cId="2836287494" sldId="2147483206"/>
            <ac:spMk id="5" creationId="{B616D883-B681-2A3A-C384-6A90B0E87076}"/>
          </ac:spMkLst>
        </pc:spChg>
        <pc:spChg chg="mod ord">
          <ac:chgData name="Matsui, Kenta" userId="6ce48ff2-524e-4a52-b040-ec4be8ce3267" providerId="ADAL" clId="{38E00974-09F9-457F-84D5-732EC734A80D}" dt="2025-02-14T06:48:40.957" v="245"/>
          <ac:spMkLst>
            <pc:docMk/>
            <pc:sldMk cId="2836287494" sldId="2147483206"/>
            <ac:spMk id="6" creationId="{B9BB81C6-B687-A03B-6676-0809B36A8FBE}"/>
          </ac:spMkLst>
        </pc:spChg>
        <pc:spChg chg="add mod">
          <ac:chgData name="Matsui, Kenta" userId="6ce48ff2-524e-4a52-b040-ec4be8ce3267" providerId="ADAL" clId="{38E00974-09F9-457F-84D5-732EC734A80D}" dt="2025-02-17T08:22:22.651" v="3796" actId="113"/>
          <ac:spMkLst>
            <pc:docMk/>
            <pc:sldMk cId="2836287494" sldId="2147483206"/>
            <ac:spMk id="7" creationId="{10ECBE50-6EEE-2E4A-AD3C-84FB3C568060}"/>
          </ac:spMkLst>
        </pc:spChg>
        <pc:spChg chg="add mod">
          <ac:chgData name="Matsui, Kenta" userId="6ce48ff2-524e-4a52-b040-ec4be8ce3267" providerId="ADAL" clId="{38E00974-09F9-457F-84D5-732EC734A80D}" dt="2025-02-17T08:22:24.740" v="3797" actId="113"/>
          <ac:spMkLst>
            <pc:docMk/>
            <pc:sldMk cId="2836287494" sldId="2147483206"/>
            <ac:spMk id="8" creationId="{E832DB66-15AB-EF38-42C2-07DF7A673D94}"/>
          </ac:spMkLst>
        </pc:spChg>
        <pc:spChg chg="add mod">
          <ac:chgData name="Matsui, Kenta" userId="6ce48ff2-524e-4a52-b040-ec4be8ce3267" providerId="ADAL" clId="{38E00974-09F9-457F-84D5-732EC734A80D}" dt="2025-02-17T08:19:14.747" v="3749" actId="164"/>
          <ac:spMkLst>
            <pc:docMk/>
            <pc:sldMk cId="2836287494" sldId="2147483206"/>
            <ac:spMk id="12" creationId="{C8581876-9876-B2B0-F868-87DFAC20A120}"/>
          </ac:spMkLst>
        </pc:spChg>
        <pc:spChg chg="add mod">
          <ac:chgData name="Matsui, Kenta" userId="6ce48ff2-524e-4a52-b040-ec4be8ce3267" providerId="ADAL" clId="{38E00974-09F9-457F-84D5-732EC734A80D}" dt="2025-02-17T08:19:14.747" v="3749" actId="164"/>
          <ac:spMkLst>
            <pc:docMk/>
            <pc:sldMk cId="2836287494" sldId="2147483206"/>
            <ac:spMk id="15" creationId="{8AA79E28-FB9B-BE8A-34CD-6469B9456F1F}"/>
          </ac:spMkLst>
        </pc:spChg>
        <pc:spChg chg="add mod">
          <ac:chgData name="Matsui, Kenta" userId="6ce48ff2-524e-4a52-b040-ec4be8ce3267" providerId="ADAL" clId="{38E00974-09F9-457F-84D5-732EC734A80D}" dt="2025-02-17T08:19:14.747" v="3749" actId="164"/>
          <ac:spMkLst>
            <pc:docMk/>
            <pc:sldMk cId="2836287494" sldId="2147483206"/>
            <ac:spMk id="16" creationId="{6389A3CA-A8E2-9A75-1AB2-365BD2EA7D5A}"/>
          </ac:spMkLst>
        </pc:spChg>
        <pc:spChg chg="add mod">
          <ac:chgData name="Matsui, Kenta" userId="6ce48ff2-524e-4a52-b040-ec4be8ce3267" providerId="ADAL" clId="{38E00974-09F9-457F-84D5-732EC734A80D}" dt="2025-02-17T08:19:14.747" v="3749" actId="164"/>
          <ac:spMkLst>
            <pc:docMk/>
            <pc:sldMk cId="2836287494" sldId="2147483206"/>
            <ac:spMk id="17" creationId="{896C3865-29F7-539D-8AFE-24035444FE8D}"/>
          </ac:spMkLst>
        </pc:spChg>
        <pc:spChg chg="mod">
          <ac:chgData name="Matsui, Kenta" userId="6ce48ff2-524e-4a52-b040-ec4be8ce3267" providerId="ADAL" clId="{38E00974-09F9-457F-84D5-732EC734A80D}" dt="2025-02-17T08:19:14.747" v="3749" actId="164"/>
          <ac:spMkLst>
            <pc:docMk/>
            <pc:sldMk cId="2836287494" sldId="2147483206"/>
            <ac:spMk id="18" creationId="{5984008B-6B54-0246-7286-41D632827F4F}"/>
          </ac:spMkLst>
        </pc:spChg>
        <pc:spChg chg="mod">
          <ac:chgData name="Matsui, Kenta" userId="6ce48ff2-524e-4a52-b040-ec4be8ce3267" providerId="ADAL" clId="{38E00974-09F9-457F-84D5-732EC734A80D}" dt="2025-02-17T08:19:14.747" v="3749" actId="164"/>
          <ac:spMkLst>
            <pc:docMk/>
            <pc:sldMk cId="2836287494" sldId="2147483206"/>
            <ac:spMk id="19" creationId="{05A48789-7633-C941-7C38-839F118BCA17}"/>
          </ac:spMkLst>
        </pc:spChg>
        <pc:spChg chg="mod">
          <ac:chgData name="Matsui, Kenta" userId="6ce48ff2-524e-4a52-b040-ec4be8ce3267" providerId="ADAL" clId="{38E00974-09F9-457F-84D5-732EC734A80D}" dt="2025-02-17T08:19:14.747" v="3749" actId="164"/>
          <ac:spMkLst>
            <pc:docMk/>
            <pc:sldMk cId="2836287494" sldId="2147483206"/>
            <ac:spMk id="20" creationId="{FE32D5B5-B058-AFDE-F6A8-3BD9FB66E3BB}"/>
          </ac:spMkLst>
        </pc:spChg>
        <pc:spChg chg="mod">
          <ac:chgData name="Matsui, Kenta" userId="6ce48ff2-524e-4a52-b040-ec4be8ce3267" providerId="ADAL" clId="{38E00974-09F9-457F-84D5-732EC734A80D}" dt="2025-02-17T08:19:14.747" v="3749" actId="164"/>
          <ac:spMkLst>
            <pc:docMk/>
            <pc:sldMk cId="2836287494" sldId="2147483206"/>
            <ac:spMk id="21" creationId="{7E9B1415-7516-6075-7175-85E9A37B33A3}"/>
          </ac:spMkLst>
        </pc:spChg>
        <pc:spChg chg="add mod">
          <ac:chgData name="Matsui, Kenta" userId="6ce48ff2-524e-4a52-b040-ec4be8ce3267" providerId="ADAL" clId="{38E00974-09F9-457F-84D5-732EC734A80D}" dt="2025-02-17T08:18:55.628" v="3741" actId="164"/>
          <ac:spMkLst>
            <pc:docMk/>
            <pc:sldMk cId="2836287494" sldId="2147483206"/>
            <ac:spMk id="22" creationId="{A0FD0BC2-D654-F064-098B-113CE1B5D853}"/>
          </ac:spMkLst>
        </pc:spChg>
        <pc:spChg chg="add mod">
          <ac:chgData name="Matsui, Kenta" userId="6ce48ff2-524e-4a52-b040-ec4be8ce3267" providerId="ADAL" clId="{38E00974-09F9-457F-84D5-732EC734A80D}" dt="2025-02-17T08:18:55.628" v="3741" actId="164"/>
          <ac:spMkLst>
            <pc:docMk/>
            <pc:sldMk cId="2836287494" sldId="2147483206"/>
            <ac:spMk id="23" creationId="{E2119EA4-6762-5552-6024-031C9C9E92DA}"/>
          </ac:spMkLst>
        </pc:spChg>
        <pc:spChg chg="add mod">
          <ac:chgData name="Matsui, Kenta" userId="6ce48ff2-524e-4a52-b040-ec4be8ce3267" providerId="ADAL" clId="{38E00974-09F9-457F-84D5-732EC734A80D}" dt="2025-02-17T08:18:55.628" v="3741" actId="164"/>
          <ac:spMkLst>
            <pc:docMk/>
            <pc:sldMk cId="2836287494" sldId="2147483206"/>
            <ac:spMk id="24" creationId="{02D2882A-C87E-D282-49D0-807D842FB165}"/>
          </ac:spMkLst>
        </pc:spChg>
        <pc:spChg chg="add mod">
          <ac:chgData name="Matsui, Kenta" userId="6ce48ff2-524e-4a52-b040-ec4be8ce3267" providerId="ADAL" clId="{38E00974-09F9-457F-84D5-732EC734A80D}" dt="2025-02-17T08:18:55.628" v="3741" actId="164"/>
          <ac:spMkLst>
            <pc:docMk/>
            <pc:sldMk cId="2836287494" sldId="2147483206"/>
            <ac:spMk id="26" creationId="{0909C177-AB58-A028-71E0-9B037E512C9E}"/>
          </ac:spMkLst>
        </pc:spChg>
        <pc:spChg chg="add mod">
          <ac:chgData name="Matsui, Kenta" userId="6ce48ff2-524e-4a52-b040-ec4be8ce3267" providerId="ADAL" clId="{38E00974-09F9-457F-84D5-732EC734A80D}" dt="2025-02-17T08:18:55.628" v="3741" actId="164"/>
          <ac:spMkLst>
            <pc:docMk/>
            <pc:sldMk cId="2836287494" sldId="2147483206"/>
            <ac:spMk id="27" creationId="{81E723B6-94C6-E5BB-4C4F-4DE5A5704627}"/>
          </ac:spMkLst>
        </pc:spChg>
        <pc:spChg chg="add mod">
          <ac:chgData name="Matsui, Kenta" userId="6ce48ff2-524e-4a52-b040-ec4be8ce3267" providerId="ADAL" clId="{38E00974-09F9-457F-84D5-732EC734A80D}" dt="2025-02-17T08:18:55.628" v="3741" actId="164"/>
          <ac:spMkLst>
            <pc:docMk/>
            <pc:sldMk cId="2836287494" sldId="2147483206"/>
            <ac:spMk id="28" creationId="{F056A128-095B-DC48-6FFC-BB9296C00A84}"/>
          </ac:spMkLst>
        </pc:spChg>
        <pc:spChg chg="add mod">
          <ac:chgData name="Matsui, Kenta" userId="6ce48ff2-524e-4a52-b040-ec4be8ce3267" providerId="ADAL" clId="{38E00974-09F9-457F-84D5-732EC734A80D}" dt="2025-02-17T08:18:55.628" v="3741" actId="164"/>
          <ac:spMkLst>
            <pc:docMk/>
            <pc:sldMk cId="2836287494" sldId="2147483206"/>
            <ac:spMk id="30" creationId="{37B8C9D8-0218-5DB4-7A37-2A5B48158094}"/>
          </ac:spMkLst>
        </pc:spChg>
        <pc:spChg chg="add mod">
          <ac:chgData name="Matsui, Kenta" userId="6ce48ff2-524e-4a52-b040-ec4be8ce3267" providerId="ADAL" clId="{38E00974-09F9-457F-84D5-732EC734A80D}" dt="2025-02-17T08:18:55.628" v="3741" actId="164"/>
          <ac:spMkLst>
            <pc:docMk/>
            <pc:sldMk cId="2836287494" sldId="2147483206"/>
            <ac:spMk id="33" creationId="{847280A5-4290-85A5-06B9-B742FD072B91}"/>
          </ac:spMkLst>
        </pc:spChg>
        <pc:grpChg chg="add mod">
          <ac:chgData name="Matsui, Kenta" userId="6ce48ff2-524e-4a52-b040-ec4be8ce3267" providerId="ADAL" clId="{38E00974-09F9-457F-84D5-732EC734A80D}" dt="2025-02-17T08:18:55.628" v="3741" actId="164"/>
          <ac:grpSpMkLst>
            <pc:docMk/>
            <pc:sldMk cId="2836287494" sldId="2147483206"/>
            <ac:grpSpMk id="9" creationId="{200CC91E-D4AF-FEFE-2425-EA1540C7A3ED}"/>
          </ac:grpSpMkLst>
        </pc:grpChg>
        <pc:grpChg chg="add mod">
          <ac:chgData name="Matsui, Kenta" userId="6ce48ff2-524e-4a52-b040-ec4be8ce3267" providerId="ADAL" clId="{38E00974-09F9-457F-84D5-732EC734A80D}" dt="2025-02-17T08:22:17.932" v="3793" actId="1076"/>
          <ac:grpSpMkLst>
            <pc:docMk/>
            <pc:sldMk cId="2836287494" sldId="2147483206"/>
            <ac:grpSpMk id="34" creationId="{B39C4224-0403-B097-69B9-70579F342CF3}"/>
          </ac:grpSpMkLst>
        </pc:grpChg>
        <pc:grpChg chg="add mod">
          <ac:chgData name="Matsui, Kenta" userId="6ce48ff2-524e-4a52-b040-ec4be8ce3267" providerId="ADAL" clId="{38E00974-09F9-457F-84D5-732EC734A80D}" dt="2025-02-17T08:19:16.613" v="3750" actId="1076"/>
          <ac:grpSpMkLst>
            <pc:docMk/>
            <pc:sldMk cId="2836287494" sldId="2147483206"/>
            <ac:grpSpMk id="35" creationId="{6CBBFBEB-195C-9DD1-3336-7F4B2EBFDAB8}"/>
          </ac:grpSpMkLst>
        </pc:grpChg>
        <pc:graphicFrameChg chg="add mod ord modVis">
          <ac:chgData name="Matsui, Kenta" userId="6ce48ff2-524e-4a52-b040-ec4be8ce3267" providerId="ADAL" clId="{38E00974-09F9-457F-84D5-732EC734A80D}" dt="2025-02-14T06:48:40.957" v="251"/>
          <ac:graphicFrameMkLst>
            <pc:docMk/>
            <pc:sldMk cId="2836287494" sldId="2147483206"/>
            <ac:graphicFrameMk id="37" creationId="{80CDE52F-EE64-6A5F-78CE-433ACFCCFF0D}"/>
          </ac:graphicFrameMkLst>
        </pc:graphicFrameChg>
        <pc:picChg chg="add mod">
          <ac:chgData name="Matsui, Kenta" userId="6ce48ff2-524e-4a52-b040-ec4be8ce3267" providerId="ADAL" clId="{38E00974-09F9-457F-84D5-732EC734A80D}" dt="2025-02-17T08:19:14.747" v="3749" actId="164"/>
          <ac:picMkLst>
            <pc:docMk/>
            <pc:sldMk cId="2836287494" sldId="2147483206"/>
            <ac:picMk id="10" creationId="{C20E826B-3619-5C59-62F5-7916CF3B0E57}"/>
          </ac:picMkLst>
        </pc:picChg>
        <pc:picChg chg="add mod">
          <ac:chgData name="Matsui, Kenta" userId="6ce48ff2-524e-4a52-b040-ec4be8ce3267" providerId="ADAL" clId="{38E00974-09F9-457F-84D5-732EC734A80D}" dt="2025-02-14T07:28:54.153" v="1284"/>
          <ac:picMkLst>
            <pc:docMk/>
            <pc:sldMk cId="2836287494" sldId="2147483206"/>
            <ac:picMk id="43" creationId="{09D5EC63-8706-51FB-C221-84B803111A57}"/>
          </ac:picMkLst>
        </pc:picChg>
      </pc:sldChg>
      <pc:sldChg chg="add del">
        <pc:chgData name="Matsui, Kenta" userId="6ce48ff2-524e-4a52-b040-ec4be8ce3267" providerId="ADAL" clId="{38E00974-09F9-457F-84D5-732EC734A80D}" dt="2025-02-14T06:44:53.174" v="153" actId="2696"/>
        <pc:sldMkLst>
          <pc:docMk/>
          <pc:sldMk cId="3736633849" sldId="2147483206"/>
        </pc:sldMkLst>
      </pc:sldChg>
      <pc:sldChg chg="add del">
        <pc:chgData name="Matsui, Kenta" userId="6ce48ff2-524e-4a52-b040-ec4be8ce3267" providerId="ADAL" clId="{38E00974-09F9-457F-84D5-732EC734A80D}" dt="2025-02-14T06:44:53.174" v="153" actId="2696"/>
        <pc:sldMkLst>
          <pc:docMk/>
          <pc:sldMk cId="2034043398" sldId="2147483207"/>
        </pc:sldMkLst>
      </pc:sldChg>
      <pc:sldChg chg="addSp modSp add">
        <pc:chgData name="Matsui, Kenta" userId="6ce48ff2-524e-4a52-b040-ec4be8ce3267" providerId="ADAL" clId="{38E00974-09F9-457F-84D5-732EC734A80D}" dt="2025-02-14T07:29:01.826" v="1290"/>
        <pc:sldMkLst>
          <pc:docMk/>
          <pc:sldMk cId="3678710289" sldId="2147483207"/>
        </pc:sldMkLst>
      </pc:sldChg>
      <pc:sldChg chg="addSp delSp modSp add mod chgLayout">
        <pc:chgData name="Matsui, Kenta" userId="6ce48ff2-524e-4a52-b040-ec4be8ce3267" providerId="ADAL" clId="{38E00974-09F9-457F-84D5-732EC734A80D}" dt="2025-02-17T09:47:43.866" v="4854" actId="14100"/>
        <pc:sldMkLst>
          <pc:docMk/>
          <pc:sldMk cId="247800818" sldId="2147483208"/>
        </pc:sldMkLst>
        <pc:spChg chg="mod">
          <ac:chgData name="Matsui, Kenta" userId="6ce48ff2-524e-4a52-b040-ec4be8ce3267" providerId="ADAL" clId="{38E00974-09F9-457F-84D5-732EC734A80D}" dt="2025-02-17T09:47:43.866" v="4854" actId="14100"/>
          <ac:spMkLst>
            <pc:docMk/>
            <pc:sldMk cId="247800818" sldId="2147483208"/>
            <ac:spMk id="2" creationId="{7D4E0D48-D2C2-A850-8FB2-D6E861B9CF3C}"/>
          </ac:spMkLst>
        </pc:spChg>
        <pc:spChg chg="mod ord">
          <ac:chgData name="Matsui, Kenta" userId="6ce48ff2-524e-4a52-b040-ec4be8ce3267" providerId="ADAL" clId="{38E00974-09F9-457F-84D5-732EC734A80D}" dt="2025-02-14T07:16:17.867" v="930" actId="700"/>
          <ac:spMkLst>
            <pc:docMk/>
            <pc:sldMk cId="247800818" sldId="2147483208"/>
            <ac:spMk id="5" creationId="{D231AE7E-DA1C-7166-ABEF-FF335CC1BC81}"/>
          </ac:spMkLst>
        </pc:spChg>
        <pc:spChg chg="mod ord">
          <ac:chgData name="Matsui, Kenta" userId="6ce48ff2-524e-4a52-b040-ec4be8ce3267" providerId="ADAL" clId="{38E00974-09F9-457F-84D5-732EC734A80D}" dt="2025-02-14T07:16:35.123" v="944" actId="948"/>
          <ac:spMkLst>
            <pc:docMk/>
            <pc:sldMk cId="247800818" sldId="2147483208"/>
            <ac:spMk id="6" creationId="{2018ABE7-F968-6CB7-FCCE-891B89E79282}"/>
          </ac:spMkLst>
        </pc:spChg>
        <pc:spChg chg="mod">
          <ac:chgData name="Matsui, Kenta" userId="6ce48ff2-524e-4a52-b040-ec4be8ce3267" providerId="ADAL" clId="{38E00974-09F9-457F-84D5-732EC734A80D}" dt="2025-02-17T09:47:43.866" v="4854" actId="14100"/>
          <ac:spMkLst>
            <pc:docMk/>
            <pc:sldMk cId="247800818" sldId="2147483208"/>
            <ac:spMk id="10" creationId="{1B6011A9-82A3-FA36-F3EF-AB4FC7C065FF}"/>
          </ac:spMkLst>
        </pc:spChg>
        <pc:graphicFrameChg chg="mod">
          <ac:chgData name="Matsui, Kenta" userId="6ce48ff2-524e-4a52-b040-ec4be8ce3267" providerId="ADAL" clId="{38E00974-09F9-457F-84D5-732EC734A80D}" dt="2025-02-14T07:16:35.123" v="946"/>
          <ac:graphicFrameMkLst>
            <pc:docMk/>
            <pc:sldMk cId="247800818" sldId="2147483208"/>
            <ac:graphicFrameMk id="4" creationId="{B51D2C04-60B2-BFE0-3762-14454E7E6458}"/>
          </ac:graphicFrameMkLst>
        </pc:graphicFrameChg>
      </pc:sldChg>
      <pc:sldChg chg="addSp delSp modSp add del mod modClrScheme chgLayout">
        <pc:chgData name="Matsui, Kenta" userId="6ce48ff2-524e-4a52-b040-ec4be8ce3267" providerId="ADAL" clId="{38E00974-09F9-457F-84D5-732EC734A80D}" dt="2025-02-14T06:44:53.174" v="153" actId="2696"/>
        <pc:sldMkLst>
          <pc:docMk/>
          <pc:sldMk cId="916885365" sldId="2147483208"/>
        </pc:sldMkLst>
      </pc:sldChg>
      <pc:sldChg chg="addSp delSp modSp add del mod">
        <pc:chgData name="Matsui, Kenta" userId="6ce48ff2-524e-4a52-b040-ec4be8ce3267" providerId="ADAL" clId="{38E00974-09F9-457F-84D5-732EC734A80D}" dt="2025-02-14T06:44:53.174" v="153" actId="2696"/>
        <pc:sldMkLst>
          <pc:docMk/>
          <pc:sldMk cId="1908620245" sldId="2147483209"/>
        </pc:sldMkLst>
      </pc:sldChg>
      <pc:sldChg chg="add">
        <pc:chgData name="Matsui, Kenta" userId="6ce48ff2-524e-4a52-b040-ec4be8ce3267" providerId="ADAL" clId="{38E00974-09F9-457F-84D5-732EC734A80D}" dt="2025-02-14T06:44:56.283" v="154"/>
        <pc:sldMkLst>
          <pc:docMk/>
          <pc:sldMk cId="3399584436" sldId="2147483209"/>
        </pc:sldMkLst>
      </pc:sldChg>
      <pc:sldChg chg="modSp add del mod">
        <pc:chgData name="Matsui, Kenta" userId="6ce48ff2-524e-4a52-b040-ec4be8ce3267" providerId="ADAL" clId="{38E00974-09F9-457F-84D5-732EC734A80D}" dt="2025-02-14T06:44:00.180" v="76" actId="47"/>
        <pc:sldMkLst>
          <pc:docMk/>
          <pc:sldMk cId="4080229449" sldId="2147483210"/>
        </pc:sldMkLst>
      </pc:sldChg>
      <pc:sldChg chg="add del">
        <pc:chgData name="Matsui, Kenta" userId="6ce48ff2-524e-4a52-b040-ec4be8ce3267" providerId="ADAL" clId="{38E00974-09F9-457F-84D5-732EC734A80D}" dt="2025-02-14T06:44:00.180" v="76" actId="47"/>
        <pc:sldMkLst>
          <pc:docMk/>
          <pc:sldMk cId="2576282757" sldId="2147483211"/>
        </pc:sldMkLst>
      </pc:sldChg>
      <pc:sldChg chg="add">
        <pc:chgData name="Matsui, Kenta" userId="6ce48ff2-524e-4a52-b040-ec4be8ce3267" providerId="ADAL" clId="{38E00974-09F9-457F-84D5-732EC734A80D}" dt="2025-02-14T06:44:56.283" v="154"/>
        <pc:sldMkLst>
          <pc:docMk/>
          <pc:sldMk cId="992616126" sldId="2147483212"/>
        </pc:sldMkLst>
      </pc:sldChg>
      <pc:sldChg chg="addSp delSp modSp add del mod">
        <pc:chgData name="Matsui, Kenta" userId="6ce48ff2-524e-4a52-b040-ec4be8ce3267" providerId="ADAL" clId="{38E00974-09F9-457F-84D5-732EC734A80D}" dt="2025-02-14T06:44:53.174" v="153" actId="2696"/>
        <pc:sldMkLst>
          <pc:docMk/>
          <pc:sldMk cId="1098148078" sldId="2147483212"/>
        </pc:sldMkLst>
      </pc:sldChg>
      <pc:sldChg chg="addSp delSp modSp add del mod modClrScheme chgLayout">
        <pc:chgData name="Matsui, Kenta" userId="6ce48ff2-524e-4a52-b040-ec4be8ce3267" providerId="ADAL" clId="{38E00974-09F9-457F-84D5-732EC734A80D}" dt="2025-02-14T06:44:53.174" v="153" actId="2696"/>
        <pc:sldMkLst>
          <pc:docMk/>
          <pc:sldMk cId="434127032" sldId="2147483213"/>
        </pc:sldMkLst>
      </pc:sldChg>
      <pc:sldChg chg="addSp modSp add mod">
        <pc:chgData name="Matsui, Kenta" userId="6ce48ff2-524e-4a52-b040-ec4be8ce3267" providerId="ADAL" clId="{38E00974-09F9-457F-84D5-732EC734A80D}" dt="2025-02-14T07:28:52.214" v="1283"/>
        <pc:sldMkLst>
          <pc:docMk/>
          <pc:sldMk cId="2061028976" sldId="2147483213"/>
        </pc:sldMkLst>
        <pc:spChg chg="mod">
          <ac:chgData name="Matsui, Kenta" userId="6ce48ff2-524e-4a52-b040-ec4be8ce3267" providerId="ADAL" clId="{38E00974-09F9-457F-84D5-732EC734A80D}" dt="2025-02-14T06:45:36.135" v="157" actId="207"/>
          <ac:spMkLst>
            <pc:docMk/>
            <pc:sldMk cId="2061028976" sldId="2147483213"/>
            <ac:spMk id="3" creationId="{18002B02-7AE2-FD01-7A61-D228C50AC79B}"/>
          </ac:spMkLst>
        </pc:spChg>
        <pc:grpChg chg="mod">
          <ac:chgData name="Matsui, Kenta" userId="6ce48ff2-524e-4a52-b040-ec4be8ce3267" providerId="ADAL" clId="{38E00974-09F9-457F-84D5-732EC734A80D}" dt="2025-02-14T06:45:29.117" v="156" actId="1076"/>
          <ac:grpSpMkLst>
            <pc:docMk/>
            <pc:sldMk cId="2061028976" sldId="2147483213"/>
            <ac:grpSpMk id="10" creationId="{2D4ADFE9-B617-6A78-0AB8-20ACC1BCA4DF}"/>
          </ac:grpSpMkLst>
        </pc:grpChg>
        <pc:picChg chg="add mod">
          <ac:chgData name="Matsui, Kenta" userId="6ce48ff2-524e-4a52-b040-ec4be8ce3267" providerId="ADAL" clId="{38E00974-09F9-457F-84D5-732EC734A80D}" dt="2025-02-14T07:28:52.214" v="1283"/>
          <ac:picMkLst>
            <pc:docMk/>
            <pc:sldMk cId="2061028976" sldId="2147483213"/>
            <ac:picMk id="8" creationId="{48355C18-43B7-1FD8-8A7F-2086E93A137A}"/>
          </ac:picMkLst>
        </pc:picChg>
      </pc:sldChg>
      <pc:sldChg chg="add del">
        <pc:chgData name="Matsui, Kenta" userId="6ce48ff2-524e-4a52-b040-ec4be8ce3267" providerId="ADAL" clId="{38E00974-09F9-457F-84D5-732EC734A80D}" dt="2025-02-14T06:44:53.174" v="153" actId="2696"/>
        <pc:sldMkLst>
          <pc:docMk/>
          <pc:sldMk cId="1434548973" sldId="2147483214"/>
        </pc:sldMkLst>
      </pc:sldChg>
      <pc:sldChg chg="addSp delSp modSp add mod ord modClrScheme chgLayout">
        <pc:chgData name="Matsui, Kenta" userId="6ce48ff2-524e-4a52-b040-ec4be8ce3267" providerId="ADAL" clId="{38E00974-09F9-457F-84D5-732EC734A80D}" dt="2025-02-17T09:35:43.282" v="4658" actId="1036"/>
        <pc:sldMkLst>
          <pc:docMk/>
          <pc:sldMk cId="3016206155" sldId="2147483214"/>
        </pc:sldMkLst>
        <pc:spChg chg="mod ord">
          <ac:chgData name="Matsui, Kenta" userId="6ce48ff2-524e-4a52-b040-ec4be8ce3267" providerId="ADAL" clId="{38E00974-09F9-457F-84D5-732EC734A80D}" dt="2025-02-14T06:45:55.986" v="158" actId="700"/>
          <ac:spMkLst>
            <pc:docMk/>
            <pc:sldMk cId="3016206155" sldId="2147483214"/>
            <ac:spMk id="5" creationId="{D231AE7E-DA1C-7166-ABEF-FF335CC1BC81}"/>
          </ac:spMkLst>
        </pc:spChg>
        <pc:spChg chg="mod ord">
          <ac:chgData name="Matsui, Kenta" userId="6ce48ff2-524e-4a52-b040-ec4be8ce3267" providerId="ADAL" clId="{38E00974-09F9-457F-84D5-732EC734A80D}" dt="2025-02-17T07:36:02.301" v="1405" actId="948"/>
          <ac:spMkLst>
            <pc:docMk/>
            <pc:sldMk cId="3016206155" sldId="2147483214"/>
            <ac:spMk id="6" creationId="{2018ABE7-F968-6CB7-FCCE-891B89E79282}"/>
          </ac:spMkLst>
        </pc:spChg>
        <pc:spChg chg="mod topLvl">
          <ac:chgData name="Matsui, Kenta" userId="6ce48ff2-524e-4a52-b040-ec4be8ce3267" providerId="ADAL" clId="{38E00974-09F9-457F-84D5-732EC734A80D}" dt="2025-02-17T09:35:23.217" v="4651"/>
          <ac:spMkLst>
            <pc:docMk/>
            <pc:sldMk cId="3016206155" sldId="2147483214"/>
            <ac:spMk id="7" creationId="{B2B48647-198B-1FB6-57AB-0FA87234EC1D}"/>
          </ac:spMkLst>
        </pc:spChg>
        <pc:spChg chg="mod topLvl">
          <ac:chgData name="Matsui, Kenta" userId="6ce48ff2-524e-4a52-b040-ec4be8ce3267" providerId="ADAL" clId="{38E00974-09F9-457F-84D5-732EC734A80D}" dt="2025-02-17T09:35:23.217" v="4651"/>
          <ac:spMkLst>
            <pc:docMk/>
            <pc:sldMk cId="3016206155" sldId="2147483214"/>
            <ac:spMk id="13" creationId="{D344BADF-A577-3210-5733-3E805CCFDA85}"/>
          </ac:spMkLst>
        </pc:spChg>
        <pc:spChg chg="add mod">
          <ac:chgData name="Matsui, Kenta" userId="6ce48ff2-524e-4a52-b040-ec4be8ce3267" providerId="ADAL" clId="{38E00974-09F9-457F-84D5-732EC734A80D}" dt="2025-02-17T09:33:14.054" v="4626"/>
          <ac:spMkLst>
            <pc:docMk/>
            <pc:sldMk cId="3016206155" sldId="2147483214"/>
            <ac:spMk id="15" creationId="{F6F33756-FBFB-BB77-25C7-084314F72804}"/>
          </ac:spMkLst>
        </pc:spChg>
        <pc:spChg chg="add mod">
          <ac:chgData name="Matsui, Kenta" userId="6ce48ff2-524e-4a52-b040-ec4be8ce3267" providerId="ADAL" clId="{38E00974-09F9-457F-84D5-732EC734A80D}" dt="2025-02-17T09:34:03.812" v="4630" actId="1076"/>
          <ac:spMkLst>
            <pc:docMk/>
            <pc:sldMk cId="3016206155" sldId="2147483214"/>
            <ac:spMk id="16" creationId="{BA591EB5-F85D-977C-55DB-DF4992BC7D59}"/>
          </ac:spMkLst>
        </pc:spChg>
        <pc:grpChg chg="add mod">
          <ac:chgData name="Matsui, Kenta" userId="6ce48ff2-524e-4a52-b040-ec4be8ce3267" providerId="ADAL" clId="{38E00974-09F9-457F-84D5-732EC734A80D}" dt="2025-02-17T09:35:23.217" v="4651"/>
          <ac:grpSpMkLst>
            <pc:docMk/>
            <pc:sldMk cId="3016206155" sldId="2147483214"/>
            <ac:grpSpMk id="18" creationId="{35B3E910-D471-7E25-5544-DF85992AE27A}"/>
          </ac:grpSpMkLst>
        </pc:grpChg>
        <pc:graphicFrameChg chg="add mod ord modVis">
          <ac:chgData name="Matsui, Kenta" userId="6ce48ff2-524e-4a52-b040-ec4be8ce3267" providerId="ADAL" clId="{38E00974-09F9-457F-84D5-732EC734A80D}" dt="2025-02-17T07:36:02.302" v="1407"/>
          <ac:graphicFrameMkLst>
            <pc:docMk/>
            <pc:sldMk cId="3016206155" sldId="2147483214"/>
            <ac:graphicFrameMk id="24" creationId="{C52F3978-8E08-0628-CD01-D9F5F34BB06C}"/>
          </ac:graphicFrameMkLst>
        </pc:graphicFrameChg>
        <pc:picChg chg="mod topLvl">
          <ac:chgData name="Matsui, Kenta" userId="6ce48ff2-524e-4a52-b040-ec4be8ce3267" providerId="ADAL" clId="{38E00974-09F9-457F-84D5-732EC734A80D}" dt="2025-02-17T09:35:23.217" v="4651"/>
          <ac:picMkLst>
            <pc:docMk/>
            <pc:sldMk cId="3016206155" sldId="2147483214"/>
            <ac:picMk id="3" creationId="{8BE494E4-AD7B-A0EC-C4B6-FE5C79D7D66A}"/>
          </ac:picMkLst>
        </pc:picChg>
        <pc:picChg chg="add mod">
          <ac:chgData name="Matsui, Kenta" userId="6ce48ff2-524e-4a52-b040-ec4be8ce3267" providerId="ADAL" clId="{38E00974-09F9-457F-84D5-732EC734A80D}" dt="2025-02-17T09:35:43.282" v="4658" actId="1036"/>
          <ac:picMkLst>
            <pc:docMk/>
            <pc:sldMk cId="3016206155" sldId="2147483214"/>
            <ac:picMk id="22" creationId="{C0FF7809-E0F7-A611-34E3-B5FEBAE74B94}"/>
          </ac:picMkLst>
        </pc:picChg>
        <pc:picChg chg="add mod">
          <ac:chgData name="Matsui, Kenta" userId="6ce48ff2-524e-4a52-b040-ec4be8ce3267" providerId="ADAL" clId="{38E00974-09F9-457F-84D5-732EC734A80D}" dt="2025-02-14T07:28:55.527" v="1286"/>
          <ac:picMkLst>
            <pc:docMk/>
            <pc:sldMk cId="3016206155" sldId="2147483214"/>
            <ac:picMk id="29" creationId="{73CFE46D-9392-B1D0-0A46-E9257E9A4D7A}"/>
          </ac:picMkLst>
        </pc:picChg>
      </pc:sldChg>
      <pc:sldChg chg="addSp modSp add del mod ord modClrScheme chgLayout">
        <pc:chgData name="Matsui, Kenta" userId="6ce48ff2-524e-4a52-b040-ec4be8ce3267" providerId="ADAL" clId="{38E00974-09F9-457F-84D5-732EC734A80D}" dt="2025-02-14T07:00:18.499" v="746" actId="47"/>
        <pc:sldMkLst>
          <pc:docMk/>
          <pc:sldMk cId="2811756411" sldId="2147483215"/>
        </pc:sldMkLst>
      </pc:sldChg>
      <pc:sldChg chg="add del">
        <pc:chgData name="Matsui, Kenta" userId="6ce48ff2-524e-4a52-b040-ec4be8ce3267" providerId="ADAL" clId="{38E00974-09F9-457F-84D5-732EC734A80D}" dt="2025-02-14T06:44:53.174" v="153" actId="2696"/>
        <pc:sldMkLst>
          <pc:docMk/>
          <pc:sldMk cId="2828399426" sldId="2147483215"/>
        </pc:sldMkLst>
      </pc:sldChg>
      <pc:sldChg chg="addSp delSp modSp add del mod ord modClrScheme chgLayout">
        <pc:chgData name="Matsui, Kenta" userId="6ce48ff2-524e-4a52-b040-ec4be8ce3267" providerId="ADAL" clId="{38E00974-09F9-457F-84D5-732EC734A80D}" dt="2025-02-14T07:11:55.875" v="874" actId="47"/>
        <pc:sldMkLst>
          <pc:docMk/>
          <pc:sldMk cId="383993072" sldId="2147483216"/>
        </pc:sldMkLst>
      </pc:sldChg>
      <pc:sldChg chg="add del">
        <pc:chgData name="Matsui, Kenta" userId="6ce48ff2-524e-4a52-b040-ec4be8ce3267" providerId="ADAL" clId="{38E00974-09F9-457F-84D5-732EC734A80D}" dt="2025-02-14T06:44:53.174" v="153" actId="2696"/>
        <pc:sldMkLst>
          <pc:docMk/>
          <pc:sldMk cId="3758447245" sldId="2147483216"/>
        </pc:sldMkLst>
      </pc:sldChg>
      <pc:sldChg chg="add del">
        <pc:chgData name="Matsui, Kenta" userId="6ce48ff2-524e-4a52-b040-ec4be8ce3267" providerId="ADAL" clId="{38E00974-09F9-457F-84D5-732EC734A80D}" dt="2025-02-14T06:44:53.174" v="153" actId="2696"/>
        <pc:sldMkLst>
          <pc:docMk/>
          <pc:sldMk cId="560644429" sldId="2147483217"/>
        </pc:sldMkLst>
      </pc:sldChg>
      <pc:sldChg chg="addSp modSp add del mod modClrScheme chgLayout">
        <pc:chgData name="Matsui, Kenta" userId="6ce48ff2-524e-4a52-b040-ec4be8ce3267" providerId="ADAL" clId="{38E00974-09F9-457F-84D5-732EC734A80D}" dt="2025-02-14T07:11:55.875" v="874" actId="47"/>
        <pc:sldMkLst>
          <pc:docMk/>
          <pc:sldMk cId="2269753158" sldId="2147483217"/>
        </pc:sldMkLst>
      </pc:sldChg>
      <pc:sldChg chg="addSp modSp add del mod modClrScheme chgLayout">
        <pc:chgData name="Matsui, Kenta" userId="6ce48ff2-524e-4a52-b040-ec4be8ce3267" providerId="ADAL" clId="{38E00974-09F9-457F-84D5-732EC734A80D}" dt="2025-02-14T07:00:02.745" v="745" actId="47"/>
        <pc:sldMkLst>
          <pc:docMk/>
          <pc:sldMk cId="334415930" sldId="2147483218"/>
        </pc:sldMkLst>
      </pc:sldChg>
      <pc:sldChg chg="add del">
        <pc:chgData name="Matsui, Kenta" userId="6ce48ff2-524e-4a52-b040-ec4be8ce3267" providerId="ADAL" clId="{38E00974-09F9-457F-84D5-732EC734A80D}" dt="2025-02-14T06:44:53.174" v="153" actId="2696"/>
        <pc:sldMkLst>
          <pc:docMk/>
          <pc:sldMk cId="1547176056" sldId="2147483218"/>
        </pc:sldMkLst>
      </pc:sldChg>
      <pc:sldChg chg="addSp delSp modSp add mod modClrScheme chgLayout">
        <pc:chgData name="Matsui, Kenta" userId="6ce48ff2-524e-4a52-b040-ec4be8ce3267" providerId="ADAL" clId="{38E00974-09F9-457F-84D5-732EC734A80D}" dt="2025-02-17T09:48:14.400" v="4856" actId="20577"/>
        <pc:sldMkLst>
          <pc:docMk/>
          <pc:sldMk cId="302326192" sldId="2147483219"/>
        </pc:sldMkLst>
        <pc:spChg chg="mod ord">
          <ac:chgData name="Matsui, Kenta" userId="6ce48ff2-524e-4a52-b040-ec4be8ce3267" providerId="ADAL" clId="{38E00974-09F9-457F-84D5-732EC734A80D}" dt="2025-02-14T06:45:55.986" v="158" actId="700"/>
          <ac:spMkLst>
            <pc:docMk/>
            <pc:sldMk cId="302326192" sldId="2147483219"/>
            <ac:spMk id="5" creationId="{D231AE7E-DA1C-7166-ABEF-FF335CC1BC81}"/>
          </ac:spMkLst>
        </pc:spChg>
        <pc:spChg chg="mod ord">
          <ac:chgData name="Matsui, Kenta" userId="6ce48ff2-524e-4a52-b040-ec4be8ce3267" providerId="ADAL" clId="{38E00974-09F9-457F-84D5-732EC734A80D}" dt="2025-02-14T07:12:27.460" v="893" actId="948"/>
          <ac:spMkLst>
            <pc:docMk/>
            <pc:sldMk cId="302326192" sldId="2147483219"/>
            <ac:spMk id="6" creationId="{2018ABE7-F968-6CB7-FCCE-891B89E79282}"/>
          </ac:spMkLst>
        </pc:spChg>
        <pc:spChg chg="add mod topLvl">
          <ac:chgData name="Matsui, Kenta" userId="6ce48ff2-524e-4a52-b040-ec4be8ce3267" providerId="ADAL" clId="{38E00974-09F9-457F-84D5-732EC734A80D}" dt="2025-02-17T09:48:14.400" v="4856" actId="20577"/>
          <ac:spMkLst>
            <pc:docMk/>
            <pc:sldMk cId="302326192" sldId="2147483219"/>
            <ac:spMk id="14" creationId="{6B651F31-6EC5-5444-289F-772600177354}"/>
          </ac:spMkLst>
        </pc:spChg>
        <pc:spChg chg="add mod topLvl">
          <ac:chgData name="Matsui, Kenta" userId="6ce48ff2-524e-4a52-b040-ec4be8ce3267" providerId="ADAL" clId="{38E00974-09F9-457F-84D5-732EC734A80D}" dt="2025-02-17T09:28:24.503" v="4508" actId="1076"/>
          <ac:spMkLst>
            <pc:docMk/>
            <pc:sldMk cId="302326192" sldId="2147483219"/>
            <ac:spMk id="15" creationId="{89392BA4-E5F2-FD08-0D4E-8EF92B6AEAE3}"/>
          </ac:spMkLst>
        </pc:spChg>
        <pc:spChg chg="add mod topLvl">
          <ac:chgData name="Matsui, Kenta" userId="6ce48ff2-524e-4a52-b040-ec4be8ce3267" providerId="ADAL" clId="{38E00974-09F9-457F-84D5-732EC734A80D}" dt="2025-02-17T09:28:24.503" v="4508" actId="1076"/>
          <ac:spMkLst>
            <pc:docMk/>
            <pc:sldMk cId="302326192" sldId="2147483219"/>
            <ac:spMk id="16" creationId="{D342C666-F65B-18C9-0169-EC539AFC615A}"/>
          </ac:spMkLst>
        </pc:spChg>
        <pc:spChg chg="add mod topLvl">
          <ac:chgData name="Matsui, Kenta" userId="6ce48ff2-524e-4a52-b040-ec4be8ce3267" providerId="ADAL" clId="{38E00974-09F9-457F-84D5-732EC734A80D}" dt="2025-02-17T09:28:24.503" v="4508" actId="1076"/>
          <ac:spMkLst>
            <pc:docMk/>
            <pc:sldMk cId="302326192" sldId="2147483219"/>
            <ac:spMk id="17" creationId="{148E57E8-8299-69C0-A8A4-E63CAE678D4B}"/>
          </ac:spMkLst>
        </pc:spChg>
        <pc:graphicFrameChg chg="add mod ord modVis">
          <ac:chgData name="Matsui, Kenta" userId="6ce48ff2-524e-4a52-b040-ec4be8ce3267" providerId="ADAL" clId="{38E00974-09F9-457F-84D5-732EC734A80D}" dt="2025-02-14T07:12:27.475" v="895"/>
          <ac:graphicFrameMkLst>
            <pc:docMk/>
            <pc:sldMk cId="302326192" sldId="2147483219"/>
            <ac:graphicFrameMk id="9" creationId="{CAA88C50-5051-BBE4-4DD8-ECF15B2658CC}"/>
          </ac:graphicFrameMkLst>
        </pc:graphicFrameChg>
        <pc:picChg chg="add mod">
          <ac:chgData name="Matsui, Kenta" userId="6ce48ff2-524e-4a52-b040-ec4be8ce3267" providerId="ADAL" clId="{38E00974-09F9-457F-84D5-732EC734A80D}" dt="2025-02-14T07:29:04.249" v="1291"/>
          <ac:picMkLst>
            <pc:docMk/>
            <pc:sldMk cId="302326192" sldId="2147483219"/>
            <ac:picMk id="10" creationId="{7AC095FD-C1AB-F510-EA95-3772255F4CE8}"/>
          </ac:picMkLst>
        </pc:picChg>
      </pc:sldChg>
      <pc:sldChg chg="add del">
        <pc:chgData name="Matsui, Kenta" userId="6ce48ff2-524e-4a52-b040-ec4be8ce3267" providerId="ADAL" clId="{38E00974-09F9-457F-84D5-732EC734A80D}" dt="2025-02-14T06:44:53.174" v="153" actId="2696"/>
        <pc:sldMkLst>
          <pc:docMk/>
          <pc:sldMk cId="1634016247" sldId="2147483219"/>
        </pc:sldMkLst>
      </pc:sldChg>
      <pc:sldChg chg="add del">
        <pc:chgData name="Matsui, Kenta" userId="6ce48ff2-524e-4a52-b040-ec4be8ce3267" providerId="ADAL" clId="{38E00974-09F9-457F-84D5-732EC734A80D}" dt="2025-02-14T06:44:53.174" v="153" actId="2696"/>
        <pc:sldMkLst>
          <pc:docMk/>
          <pc:sldMk cId="1333292960" sldId="2147483220"/>
        </pc:sldMkLst>
      </pc:sldChg>
      <pc:sldChg chg="addSp delSp modSp add mod modClrScheme chgLayout">
        <pc:chgData name="Matsui, Kenta" userId="6ce48ff2-524e-4a52-b040-ec4be8ce3267" providerId="ADAL" clId="{38E00974-09F9-457F-84D5-732EC734A80D}" dt="2025-02-17T09:40:43.350" v="4808" actId="1076"/>
        <pc:sldMkLst>
          <pc:docMk/>
          <pc:sldMk cId="3196921182" sldId="2147483220"/>
        </pc:sldMkLst>
        <pc:spChg chg="mod ord">
          <ac:chgData name="Matsui, Kenta" userId="6ce48ff2-524e-4a52-b040-ec4be8ce3267" providerId="ADAL" clId="{38E00974-09F9-457F-84D5-732EC734A80D}" dt="2025-02-17T09:40:43.350" v="4808" actId="1076"/>
          <ac:spMkLst>
            <pc:docMk/>
            <pc:sldMk cId="3196921182" sldId="2147483220"/>
            <ac:spMk id="5" creationId="{D231AE7E-DA1C-7166-ABEF-FF335CC1BC81}"/>
          </ac:spMkLst>
        </pc:spChg>
        <pc:spChg chg="mod ord">
          <ac:chgData name="Matsui, Kenta" userId="6ce48ff2-524e-4a52-b040-ec4be8ce3267" providerId="ADAL" clId="{38E00974-09F9-457F-84D5-732EC734A80D}" dt="2025-02-14T07:12:52.310" v="913" actId="948"/>
          <ac:spMkLst>
            <pc:docMk/>
            <pc:sldMk cId="3196921182" sldId="2147483220"/>
            <ac:spMk id="6" creationId="{2018ABE7-F968-6CB7-FCCE-891B89E79282}"/>
          </ac:spMkLst>
        </pc:spChg>
        <pc:spChg chg="add mod">
          <ac:chgData name="Matsui, Kenta" userId="6ce48ff2-524e-4a52-b040-ec4be8ce3267" providerId="ADAL" clId="{38E00974-09F9-457F-84D5-732EC734A80D}" dt="2025-02-17T09:28:08.352" v="4502"/>
          <ac:spMkLst>
            <pc:docMk/>
            <pc:sldMk cId="3196921182" sldId="2147483220"/>
            <ac:spMk id="8" creationId="{E546FE8B-3DCC-2085-2A5A-4DA696A368B4}"/>
          </ac:spMkLst>
        </pc:spChg>
        <pc:spChg chg="add mod">
          <ac:chgData name="Matsui, Kenta" userId="6ce48ff2-524e-4a52-b040-ec4be8ce3267" providerId="ADAL" clId="{38E00974-09F9-457F-84D5-732EC734A80D}" dt="2025-02-17T09:30:16.406" v="4589" actId="14100"/>
          <ac:spMkLst>
            <pc:docMk/>
            <pc:sldMk cId="3196921182" sldId="2147483220"/>
            <ac:spMk id="9" creationId="{16B940B4-6144-0B81-2371-6A3850BCAE50}"/>
          </ac:spMkLst>
        </pc:spChg>
        <pc:spChg chg="add mod">
          <ac:chgData name="Matsui, Kenta" userId="6ce48ff2-524e-4a52-b040-ec4be8ce3267" providerId="ADAL" clId="{38E00974-09F9-457F-84D5-732EC734A80D}" dt="2025-02-17T09:29:11.977" v="4574" actId="6549"/>
          <ac:spMkLst>
            <pc:docMk/>
            <pc:sldMk cId="3196921182" sldId="2147483220"/>
            <ac:spMk id="10" creationId="{8BA3DAD4-62FA-4938-4224-8CF4B84236FD}"/>
          </ac:spMkLst>
        </pc:spChg>
        <pc:spChg chg="add mod">
          <ac:chgData name="Matsui, Kenta" userId="6ce48ff2-524e-4a52-b040-ec4be8ce3267" providerId="ADAL" clId="{38E00974-09F9-457F-84D5-732EC734A80D}" dt="2025-02-17T09:30:14.094" v="4588" actId="1076"/>
          <ac:spMkLst>
            <pc:docMk/>
            <pc:sldMk cId="3196921182" sldId="2147483220"/>
            <ac:spMk id="11" creationId="{F2B53936-975C-3FF3-8668-DDEFD47A8B6E}"/>
          </ac:spMkLst>
        </pc:spChg>
        <pc:spChg chg="add mod">
          <ac:chgData name="Matsui, Kenta" userId="6ce48ff2-524e-4a52-b040-ec4be8ce3267" providerId="ADAL" clId="{38E00974-09F9-457F-84D5-732EC734A80D}" dt="2025-02-17T09:30:14.094" v="4588" actId="1076"/>
          <ac:spMkLst>
            <pc:docMk/>
            <pc:sldMk cId="3196921182" sldId="2147483220"/>
            <ac:spMk id="12" creationId="{658937CF-E8C5-5677-675B-2A32113D69F9}"/>
          </ac:spMkLst>
        </pc:spChg>
        <pc:graphicFrameChg chg="add mod ord modVis">
          <ac:chgData name="Matsui, Kenta" userId="6ce48ff2-524e-4a52-b040-ec4be8ce3267" providerId="ADAL" clId="{38E00974-09F9-457F-84D5-732EC734A80D}" dt="2025-02-14T07:12:52.310" v="915"/>
          <ac:graphicFrameMkLst>
            <pc:docMk/>
            <pc:sldMk cId="3196921182" sldId="2147483220"/>
            <ac:graphicFrameMk id="4" creationId="{94149C38-E722-9FF3-EFF1-298C7B0AD10D}"/>
          </ac:graphicFrameMkLst>
        </pc:graphicFrameChg>
        <pc:picChg chg="add mod">
          <ac:chgData name="Matsui, Kenta" userId="6ce48ff2-524e-4a52-b040-ec4be8ce3267" providerId="ADAL" clId="{38E00974-09F9-457F-84D5-732EC734A80D}" dt="2025-02-14T07:29:05.368" v="1292"/>
          <ac:picMkLst>
            <pc:docMk/>
            <pc:sldMk cId="3196921182" sldId="2147483220"/>
            <ac:picMk id="7" creationId="{0440DB16-7970-833C-3695-5F7CFE4E7927}"/>
          </ac:picMkLst>
        </pc:picChg>
        <pc:picChg chg="add mod">
          <ac:chgData name="Matsui, Kenta" userId="6ce48ff2-524e-4a52-b040-ec4be8ce3267" providerId="ADAL" clId="{38E00974-09F9-457F-84D5-732EC734A80D}" dt="2025-02-17T09:30:32.390" v="4594" actId="1076"/>
          <ac:picMkLst>
            <pc:docMk/>
            <pc:sldMk cId="3196921182" sldId="2147483220"/>
            <ac:picMk id="24" creationId="{1F6C22C2-747B-0087-8355-F8CCBCB459AC}"/>
          </ac:picMkLst>
        </pc:picChg>
      </pc:sldChg>
      <pc:sldChg chg="addSp delSp modSp add del mod modClrScheme chgLayout">
        <pc:chgData name="Matsui, Kenta" userId="6ce48ff2-524e-4a52-b040-ec4be8ce3267" providerId="ADAL" clId="{38E00974-09F9-457F-84D5-732EC734A80D}" dt="2025-02-17T09:40:55.660" v="4815" actId="47"/>
        <pc:sldMkLst>
          <pc:docMk/>
          <pc:sldMk cId="2134747709" sldId="2147483221"/>
        </pc:sldMkLst>
      </pc:sldChg>
      <pc:sldChg chg="add del">
        <pc:chgData name="Matsui, Kenta" userId="6ce48ff2-524e-4a52-b040-ec4be8ce3267" providerId="ADAL" clId="{38E00974-09F9-457F-84D5-732EC734A80D}" dt="2025-02-14T06:44:53.174" v="153" actId="2696"/>
        <pc:sldMkLst>
          <pc:docMk/>
          <pc:sldMk cId="2165689005" sldId="2147483221"/>
        </pc:sldMkLst>
      </pc:sldChg>
      <pc:sldChg chg="add del">
        <pc:chgData name="Matsui, Kenta" userId="6ce48ff2-524e-4a52-b040-ec4be8ce3267" providerId="ADAL" clId="{38E00974-09F9-457F-84D5-732EC734A80D}" dt="2025-02-14T06:44:53.174" v="153" actId="2696"/>
        <pc:sldMkLst>
          <pc:docMk/>
          <pc:sldMk cId="308699900" sldId="2147483222"/>
        </pc:sldMkLst>
      </pc:sldChg>
      <pc:sldChg chg="addSp modSp add del">
        <pc:chgData name="Matsui, Kenta" userId="6ce48ff2-524e-4a52-b040-ec4be8ce3267" providerId="ADAL" clId="{38E00974-09F9-457F-84D5-732EC734A80D}" dt="2025-02-17T07:33:57.377" v="1300" actId="47"/>
        <pc:sldMkLst>
          <pc:docMk/>
          <pc:sldMk cId="4192061703" sldId="2147483222"/>
        </pc:sldMkLst>
      </pc:sldChg>
      <pc:sldChg chg="add del">
        <pc:chgData name="Matsui, Kenta" userId="6ce48ff2-524e-4a52-b040-ec4be8ce3267" providerId="ADAL" clId="{38E00974-09F9-457F-84D5-732EC734A80D}" dt="2025-02-14T06:44:53.174" v="153" actId="2696"/>
        <pc:sldMkLst>
          <pc:docMk/>
          <pc:sldMk cId="1947096332" sldId="2147483223"/>
        </pc:sldMkLst>
      </pc:sldChg>
      <pc:sldChg chg="add del">
        <pc:chgData name="Matsui, Kenta" userId="6ce48ff2-524e-4a52-b040-ec4be8ce3267" providerId="ADAL" clId="{38E00974-09F9-457F-84D5-732EC734A80D}" dt="2025-02-17T07:33:57.377" v="1300" actId="47"/>
        <pc:sldMkLst>
          <pc:docMk/>
          <pc:sldMk cId="3771521709" sldId="2147483223"/>
        </pc:sldMkLst>
      </pc:sldChg>
      <pc:sldChg chg="delSp add del mod ord">
        <pc:chgData name="Matsui, Kenta" userId="6ce48ff2-524e-4a52-b040-ec4be8ce3267" providerId="ADAL" clId="{38E00974-09F9-457F-84D5-732EC734A80D}" dt="2025-02-14T07:17:00.170" v="948" actId="47"/>
        <pc:sldMkLst>
          <pc:docMk/>
          <pc:sldMk cId="1592443392" sldId="2147483224"/>
        </pc:sldMkLst>
      </pc:sldChg>
      <pc:sldChg chg="addSp delSp modSp add mod">
        <pc:chgData name="Matsui, Kenta" userId="6ce48ff2-524e-4a52-b040-ec4be8ce3267" providerId="ADAL" clId="{38E00974-09F9-457F-84D5-732EC734A80D}" dt="2025-02-17T09:35:05.239" v="4644" actId="1076"/>
        <pc:sldMkLst>
          <pc:docMk/>
          <pc:sldMk cId="3299412299" sldId="2147483225"/>
        </pc:sldMkLst>
        <pc:spChg chg="mod">
          <ac:chgData name="Matsui, Kenta" userId="6ce48ff2-524e-4a52-b040-ec4be8ce3267" providerId="ADAL" clId="{38E00974-09F9-457F-84D5-732EC734A80D}" dt="2025-02-17T07:35:58.123" v="1395" actId="948"/>
          <ac:spMkLst>
            <pc:docMk/>
            <pc:sldMk cId="3299412299" sldId="2147483225"/>
            <ac:spMk id="6" creationId="{D6408A0A-82A1-3E01-C295-67AF67FBE43B}"/>
          </ac:spMkLst>
        </pc:spChg>
        <pc:spChg chg="mod topLvl">
          <ac:chgData name="Matsui, Kenta" userId="6ce48ff2-524e-4a52-b040-ec4be8ce3267" providerId="ADAL" clId="{38E00974-09F9-457F-84D5-732EC734A80D}" dt="2025-02-17T09:35:05.239" v="4644" actId="1076"/>
          <ac:spMkLst>
            <pc:docMk/>
            <pc:sldMk cId="3299412299" sldId="2147483225"/>
            <ac:spMk id="34" creationId="{0323DE9B-57FE-B5C5-5D27-5AB6F789A24E}"/>
          </ac:spMkLst>
        </pc:spChg>
        <pc:spChg chg="mod topLvl">
          <ac:chgData name="Matsui, Kenta" userId="6ce48ff2-524e-4a52-b040-ec4be8ce3267" providerId="ADAL" clId="{38E00974-09F9-457F-84D5-732EC734A80D}" dt="2025-02-17T09:35:05.239" v="4644" actId="1076"/>
          <ac:spMkLst>
            <pc:docMk/>
            <pc:sldMk cId="3299412299" sldId="2147483225"/>
            <ac:spMk id="42" creationId="{940ABFE0-18AB-26EB-951F-7590B1BF1B1E}"/>
          </ac:spMkLst>
        </pc:spChg>
        <pc:spChg chg="add mod">
          <ac:chgData name="Matsui, Kenta" userId="6ce48ff2-524e-4a52-b040-ec4be8ce3267" providerId="ADAL" clId="{38E00974-09F9-457F-84D5-732EC734A80D}" dt="2025-02-17T09:34:15.225" v="4637"/>
          <ac:spMkLst>
            <pc:docMk/>
            <pc:sldMk cId="3299412299" sldId="2147483225"/>
            <ac:spMk id="45" creationId="{5371801B-F478-26D3-2D2D-3EC5DA7C2756}"/>
          </ac:spMkLst>
        </pc:spChg>
        <pc:spChg chg="add mod">
          <ac:chgData name="Matsui, Kenta" userId="6ce48ff2-524e-4a52-b040-ec4be8ce3267" providerId="ADAL" clId="{38E00974-09F9-457F-84D5-732EC734A80D}" dt="2025-02-17T09:34:06.356" v="4631"/>
          <ac:spMkLst>
            <pc:docMk/>
            <pc:sldMk cId="3299412299" sldId="2147483225"/>
            <ac:spMk id="46" creationId="{8B941CDD-7F5F-89AC-324F-EF1FAFED37D7}"/>
          </ac:spMkLst>
        </pc:spChg>
        <pc:graphicFrameChg chg="mod">
          <ac:chgData name="Matsui, Kenta" userId="6ce48ff2-524e-4a52-b040-ec4be8ce3267" providerId="ADAL" clId="{38E00974-09F9-457F-84D5-732EC734A80D}" dt="2025-02-17T07:35:58.123" v="1397"/>
          <ac:graphicFrameMkLst>
            <pc:docMk/>
            <pc:sldMk cId="3299412299" sldId="2147483225"/>
            <ac:graphicFrameMk id="37" creationId="{1E70CF43-D8B9-37FD-3BAB-FCE21B95BCED}"/>
          </ac:graphicFrameMkLst>
        </pc:graphicFrameChg>
        <pc:picChg chg="add mod modCrop">
          <ac:chgData name="Matsui, Kenta" userId="6ce48ff2-524e-4a52-b040-ec4be8ce3267" providerId="ADAL" clId="{38E00974-09F9-457F-84D5-732EC734A80D}" dt="2025-02-17T08:22:07.245" v="3791"/>
          <ac:picMkLst>
            <pc:docMk/>
            <pc:sldMk cId="3299412299" sldId="2147483225"/>
            <ac:picMk id="20" creationId="{3D8F4F4B-6046-28C3-F9F5-1D13D5E79A74}"/>
          </ac:picMkLst>
        </pc:picChg>
        <pc:picChg chg="add mod">
          <ac:chgData name="Matsui, Kenta" userId="6ce48ff2-524e-4a52-b040-ec4be8ce3267" providerId="ADAL" clId="{38E00974-09F9-457F-84D5-732EC734A80D}" dt="2025-02-14T07:28:54.872" v="1285"/>
          <ac:picMkLst>
            <pc:docMk/>
            <pc:sldMk cId="3299412299" sldId="2147483225"/>
            <ac:picMk id="21" creationId="{EC33B19E-0F56-52AA-2CF9-2DDD5C3754AE}"/>
          </ac:picMkLst>
        </pc:picChg>
        <pc:picChg chg="mod topLvl">
          <ac:chgData name="Matsui, Kenta" userId="6ce48ff2-524e-4a52-b040-ec4be8ce3267" providerId="ADAL" clId="{38E00974-09F9-457F-84D5-732EC734A80D}" dt="2025-02-17T09:35:05.239" v="4644" actId="1076"/>
          <ac:picMkLst>
            <pc:docMk/>
            <pc:sldMk cId="3299412299" sldId="2147483225"/>
            <ac:picMk id="33" creationId="{AED8D9B2-9764-01B7-926A-65D4BF2561EF}"/>
          </ac:picMkLst>
        </pc:picChg>
      </pc:sldChg>
      <pc:sldChg chg="addSp delSp modSp add del mod">
        <pc:chgData name="Matsui, Kenta" userId="6ce48ff2-524e-4a52-b040-ec4be8ce3267" providerId="ADAL" clId="{38E00974-09F9-457F-84D5-732EC734A80D}" dt="2025-02-19T11:35:31.047" v="25449" actId="47"/>
        <pc:sldMkLst>
          <pc:docMk/>
          <pc:sldMk cId="3687860942" sldId="2147483226"/>
        </pc:sldMkLst>
        <pc:spChg chg="add mod">
          <ac:chgData name="Matsui, Kenta" userId="6ce48ff2-524e-4a52-b040-ec4be8ce3267" providerId="ADAL" clId="{38E00974-09F9-457F-84D5-732EC734A80D}" dt="2025-02-17T10:31:59.845" v="8310" actId="1076"/>
          <ac:spMkLst>
            <pc:docMk/>
            <pc:sldMk cId="3687860942" sldId="2147483226"/>
            <ac:spMk id="10" creationId="{C6C6D874-0412-97D1-C9CA-0705DBFF194B}"/>
          </ac:spMkLst>
        </pc:spChg>
        <pc:spChg chg="add mod">
          <ac:chgData name="Matsui, Kenta" userId="6ce48ff2-524e-4a52-b040-ec4be8ce3267" providerId="ADAL" clId="{38E00974-09F9-457F-84D5-732EC734A80D}" dt="2025-02-17T10:29:48.902" v="7600" actId="1076"/>
          <ac:spMkLst>
            <pc:docMk/>
            <pc:sldMk cId="3687860942" sldId="2147483226"/>
            <ac:spMk id="22" creationId="{BDE25AC0-583A-2F4A-DF50-D3B80E4BD7E8}"/>
          </ac:spMkLst>
        </pc:spChg>
        <pc:spChg chg="add mod">
          <ac:chgData name="Matsui, Kenta" userId="6ce48ff2-524e-4a52-b040-ec4be8ce3267" providerId="ADAL" clId="{38E00974-09F9-457F-84D5-732EC734A80D}" dt="2025-02-17T10:29:46.166" v="7596" actId="14100"/>
          <ac:spMkLst>
            <pc:docMk/>
            <pc:sldMk cId="3687860942" sldId="2147483226"/>
            <ac:spMk id="25" creationId="{AFD7B781-A245-272D-8128-62771D6D2800}"/>
          </ac:spMkLst>
        </pc:spChg>
        <pc:spChg chg="mod">
          <ac:chgData name="Matsui, Kenta" userId="6ce48ff2-524e-4a52-b040-ec4be8ce3267" providerId="ADAL" clId="{38E00974-09F9-457F-84D5-732EC734A80D}" dt="2025-02-17T10:25:17.220" v="7492" actId="948"/>
          <ac:spMkLst>
            <pc:docMk/>
            <pc:sldMk cId="3687860942" sldId="2147483226"/>
            <ac:spMk id="51" creationId="{361E79C2-DA8D-C7A5-7DF1-F0C7F6DCC2CC}"/>
          </ac:spMkLst>
        </pc:spChg>
        <pc:spChg chg="mod">
          <ac:chgData name="Matsui, Kenta" userId="6ce48ff2-524e-4a52-b040-ec4be8ce3267" providerId="ADAL" clId="{38E00974-09F9-457F-84D5-732EC734A80D}" dt="2025-02-17T10:03:49.839" v="5443"/>
          <ac:spMkLst>
            <pc:docMk/>
            <pc:sldMk cId="3687860942" sldId="2147483226"/>
            <ac:spMk id="55" creationId="{811B9B2B-FE07-D6BA-0FFA-2CF6E9A680D0}"/>
          </ac:spMkLst>
        </pc:spChg>
        <pc:spChg chg="mod">
          <ac:chgData name="Matsui, Kenta" userId="6ce48ff2-524e-4a52-b040-ec4be8ce3267" providerId="ADAL" clId="{38E00974-09F9-457F-84D5-732EC734A80D}" dt="2025-02-17T10:37:04.288" v="8836" actId="20577"/>
          <ac:spMkLst>
            <pc:docMk/>
            <pc:sldMk cId="3687860942" sldId="2147483226"/>
            <ac:spMk id="56" creationId="{5084F7E3-8D46-637C-6F62-AAFC36235D30}"/>
          </ac:spMkLst>
        </pc:spChg>
        <pc:spChg chg="mod">
          <ac:chgData name="Matsui, Kenta" userId="6ce48ff2-524e-4a52-b040-ec4be8ce3267" providerId="ADAL" clId="{38E00974-09F9-457F-84D5-732EC734A80D}" dt="2025-02-17T10:30:15.071" v="7687"/>
          <ac:spMkLst>
            <pc:docMk/>
            <pc:sldMk cId="3687860942" sldId="2147483226"/>
            <ac:spMk id="63" creationId="{53B7026E-75E9-9243-8B62-C369B483CF01}"/>
          </ac:spMkLst>
        </pc:spChg>
        <pc:spChg chg="mod">
          <ac:chgData name="Matsui, Kenta" userId="6ce48ff2-524e-4a52-b040-ec4be8ce3267" providerId="ADAL" clId="{38E00974-09F9-457F-84D5-732EC734A80D}" dt="2025-02-17T11:12:35.909" v="11023" actId="6549"/>
          <ac:spMkLst>
            <pc:docMk/>
            <pc:sldMk cId="3687860942" sldId="2147483226"/>
            <ac:spMk id="64" creationId="{25545A0E-7149-AD14-4DEB-B1A8852BF24F}"/>
          </ac:spMkLst>
        </pc:spChg>
        <pc:spChg chg="mod">
          <ac:chgData name="Matsui, Kenta" userId="6ce48ff2-524e-4a52-b040-ec4be8ce3267" providerId="ADAL" clId="{38E00974-09F9-457F-84D5-732EC734A80D}" dt="2025-02-17T11:12:16.668" v="10951" actId="21"/>
          <ac:spMkLst>
            <pc:docMk/>
            <pc:sldMk cId="3687860942" sldId="2147483226"/>
            <ac:spMk id="65" creationId="{C14E59AA-1608-8F91-5D3C-C2612D28634E}"/>
          </ac:spMkLst>
        </pc:spChg>
        <pc:spChg chg="mod">
          <ac:chgData name="Matsui, Kenta" userId="6ce48ff2-524e-4a52-b040-ec4be8ce3267" providerId="ADAL" clId="{38E00974-09F9-457F-84D5-732EC734A80D}" dt="2025-02-17T08:26:49.125" v="4018" actId="1076"/>
          <ac:spMkLst>
            <pc:docMk/>
            <pc:sldMk cId="3687860942" sldId="2147483226"/>
            <ac:spMk id="66" creationId="{570E1D4A-4691-4603-197B-49CCEBE3D69C}"/>
          </ac:spMkLst>
        </pc:spChg>
        <pc:spChg chg="mod">
          <ac:chgData name="Matsui, Kenta" userId="6ce48ff2-524e-4a52-b040-ec4be8ce3267" providerId="ADAL" clId="{38E00974-09F9-457F-84D5-732EC734A80D}" dt="2025-02-17T10:33:37.485" v="8550" actId="207"/>
          <ac:spMkLst>
            <pc:docMk/>
            <pc:sldMk cId="3687860942" sldId="2147483226"/>
            <ac:spMk id="72" creationId="{D5EAA8DC-F326-C566-9CFA-CB16974DFCA5}"/>
          </ac:spMkLst>
        </pc:spChg>
        <pc:spChg chg="mod">
          <ac:chgData name="Matsui, Kenta" userId="6ce48ff2-524e-4a52-b040-ec4be8ce3267" providerId="ADAL" clId="{38E00974-09F9-457F-84D5-732EC734A80D}" dt="2025-02-17T10:36:24.475" v="8832" actId="207"/>
          <ac:spMkLst>
            <pc:docMk/>
            <pc:sldMk cId="3687860942" sldId="2147483226"/>
            <ac:spMk id="75" creationId="{C794F874-A1FD-CB79-7BE4-57F0D66F5051}"/>
          </ac:spMkLst>
        </pc:spChg>
        <pc:spChg chg="mod">
          <ac:chgData name="Matsui, Kenta" userId="6ce48ff2-524e-4a52-b040-ec4be8ce3267" providerId="ADAL" clId="{38E00974-09F9-457F-84D5-732EC734A80D}" dt="2025-02-17T10:41:10.659" v="10063"/>
          <ac:spMkLst>
            <pc:docMk/>
            <pc:sldMk cId="3687860942" sldId="2147483226"/>
            <ac:spMk id="79" creationId="{3DFBCF8F-3299-4F3A-72D1-BA32AEE1EC5A}"/>
          </ac:spMkLst>
        </pc:spChg>
        <pc:spChg chg="mod">
          <ac:chgData name="Matsui, Kenta" userId="6ce48ff2-524e-4a52-b040-ec4be8ce3267" providerId="ADAL" clId="{38E00974-09F9-457F-84D5-732EC734A80D}" dt="2025-02-17T10:33:37.469" v="8549" actId="207"/>
          <ac:spMkLst>
            <pc:docMk/>
            <pc:sldMk cId="3687860942" sldId="2147483226"/>
            <ac:spMk id="83" creationId="{F0A45E2F-9EF6-2464-57CE-3A1276356C48}"/>
          </ac:spMkLst>
        </pc:spChg>
        <pc:graphicFrameChg chg="add mod ord modVis">
          <ac:chgData name="Matsui, Kenta" userId="6ce48ff2-524e-4a52-b040-ec4be8ce3267" providerId="ADAL" clId="{38E00974-09F9-457F-84D5-732EC734A80D}" dt="2025-02-17T10:25:17.236" v="7516"/>
          <ac:graphicFrameMkLst>
            <pc:docMk/>
            <pc:sldMk cId="3687860942" sldId="2147483226"/>
            <ac:graphicFrameMk id="7" creationId="{5B7513EE-6FF6-3169-24F7-62327A67BC7D}"/>
          </ac:graphicFrameMkLst>
        </pc:graphicFrameChg>
        <pc:graphicFrameChg chg="add mod">
          <ac:chgData name="Matsui, Kenta" userId="6ce48ff2-524e-4a52-b040-ec4be8ce3267" providerId="ADAL" clId="{38E00974-09F9-457F-84D5-732EC734A80D}" dt="2025-02-17T10:20:35.693" v="6359" actId="2711"/>
          <ac:graphicFrameMkLst>
            <pc:docMk/>
            <pc:sldMk cId="3687860942" sldId="2147483226"/>
            <ac:graphicFrameMk id="8" creationId="{3543602F-2EEC-681F-2555-5683222D80C4}"/>
          </ac:graphicFrameMkLst>
        </pc:graphicFrameChg>
        <pc:picChg chg="add mod">
          <ac:chgData name="Matsui, Kenta" userId="6ce48ff2-524e-4a52-b040-ec4be8ce3267" providerId="ADAL" clId="{38E00974-09F9-457F-84D5-732EC734A80D}" dt="2025-02-17T10:15:02.004" v="5446"/>
          <ac:picMkLst>
            <pc:docMk/>
            <pc:sldMk cId="3687860942" sldId="2147483226"/>
            <ac:picMk id="9" creationId="{F177D13F-1824-BE3F-25D3-C112742E10F6}"/>
          </ac:picMkLst>
        </pc:picChg>
        <pc:picChg chg="add mod modCrop">
          <ac:chgData name="Matsui, Kenta" userId="6ce48ff2-524e-4a52-b040-ec4be8ce3267" providerId="ADAL" clId="{38E00974-09F9-457F-84D5-732EC734A80D}" dt="2025-02-17T10:16:01.623" v="5458" actId="732"/>
          <ac:picMkLst>
            <pc:docMk/>
            <pc:sldMk cId="3687860942" sldId="2147483226"/>
            <ac:picMk id="14" creationId="{460B2F4D-4D63-ED19-6268-92EFE086C3CE}"/>
          </ac:picMkLst>
        </pc:picChg>
        <pc:picChg chg="add mod">
          <ac:chgData name="Matsui, Kenta" userId="6ce48ff2-524e-4a52-b040-ec4be8ce3267" providerId="ADAL" clId="{38E00974-09F9-457F-84D5-732EC734A80D}" dt="2025-02-17T10:29:48.902" v="7600" actId="1076"/>
          <ac:picMkLst>
            <pc:docMk/>
            <pc:sldMk cId="3687860942" sldId="2147483226"/>
            <ac:picMk id="23" creationId="{646B14C5-EAF3-DB7C-EF35-1E947E90112C}"/>
          </ac:picMkLst>
        </pc:picChg>
        <pc:picChg chg="add mod">
          <ac:chgData name="Matsui, Kenta" userId="6ce48ff2-524e-4a52-b040-ec4be8ce3267" providerId="ADAL" clId="{38E00974-09F9-457F-84D5-732EC734A80D}" dt="2025-02-17T11:07:59.100" v="10083" actId="1076"/>
          <ac:picMkLst>
            <pc:docMk/>
            <pc:sldMk cId="3687860942" sldId="2147483226"/>
            <ac:picMk id="30" creationId="{2EDBC6C8-F8BD-3ECA-391E-B0669D2ABAF8}"/>
          </ac:picMkLst>
        </pc:picChg>
        <pc:picChg chg="mod">
          <ac:chgData name="Matsui, Kenta" userId="6ce48ff2-524e-4a52-b040-ec4be8ce3267" providerId="ADAL" clId="{38E00974-09F9-457F-84D5-732EC734A80D}" dt="2025-02-17T10:41:24.671" v="10065" actId="1076"/>
          <ac:picMkLst>
            <pc:docMk/>
            <pc:sldMk cId="3687860942" sldId="2147483226"/>
            <ac:picMk id="58" creationId="{A25450EF-4B4D-74CA-6E5B-9D7C060E5E70}"/>
          </ac:picMkLst>
        </pc:picChg>
      </pc:sldChg>
      <pc:sldChg chg="addSp delSp modSp add mod">
        <pc:chgData name="Matsui, Kenta" userId="6ce48ff2-524e-4a52-b040-ec4be8ce3267" providerId="ADAL" clId="{38E00974-09F9-457F-84D5-732EC734A80D}" dt="2025-02-17T09:34:51.612" v="4643" actId="1035"/>
        <pc:sldMkLst>
          <pc:docMk/>
          <pc:sldMk cId="753550617" sldId="2147483227"/>
        </pc:sldMkLst>
        <pc:spChg chg="mod">
          <ac:chgData name="Matsui, Kenta" userId="6ce48ff2-524e-4a52-b040-ec4be8ce3267" providerId="ADAL" clId="{38E00974-09F9-457F-84D5-732EC734A80D}" dt="2025-02-17T07:36:06.187" v="1412" actId="948"/>
          <ac:spMkLst>
            <pc:docMk/>
            <pc:sldMk cId="753550617" sldId="2147483227"/>
            <ac:spMk id="6" creationId="{CB8DB3C4-80ED-66E9-283E-E37A235CF7A1}"/>
          </ac:spMkLst>
        </pc:spChg>
        <pc:spChg chg="mod topLvl">
          <ac:chgData name="Matsui, Kenta" userId="6ce48ff2-524e-4a52-b040-ec4be8ce3267" providerId="ADAL" clId="{38E00974-09F9-457F-84D5-732EC734A80D}" dt="2025-02-17T09:34:40.457" v="4640" actId="164"/>
          <ac:spMkLst>
            <pc:docMk/>
            <pc:sldMk cId="753550617" sldId="2147483227"/>
            <ac:spMk id="8" creationId="{DC961EFA-5568-F42A-3517-22FF9ADA31D4}"/>
          </ac:spMkLst>
        </pc:spChg>
        <pc:spChg chg="mod topLvl">
          <ac:chgData name="Matsui, Kenta" userId="6ce48ff2-524e-4a52-b040-ec4be8ce3267" providerId="ADAL" clId="{38E00974-09F9-457F-84D5-732EC734A80D}" dt="2025-02-17T09:34:40.457" v="4640" actId="164"/>
          <ac:spMkLst>
            <pc:docMk/>
            <pc:sldMk cId="753550617" sldId="2147483227"/>
            <ac:spMk id="12" creationId="{09DBF062-DAC6-0825-3288-DC7879A19C96}"/>
          </ac:spMkLst>
        </pc:spChg>
        <pc:spChg chg="add mod">
          <ac:chgData name="Matsui, Kenta" userId="6ce48ff2-524e-4a52-b040-ec4be8ce3267" providerId="ADAL" clId="{38E00974-09F9-457F-84D5-732EC734A80D}" dt="2025-02-17T09:32:44.478" v="4619"/>
          <ac:spMkLst>
            <pc:docMk/>
            <pc:sldMk cId="753550617" sldId="2147483227"/>
            <ac:spMk id="23" creationId="{E45238D0-2434-958D-955D-EC52563D66AF}"/>
          </ac:spMkLst>
        </pc:spChg>
        <pc:spChg chg="add mod">
          <ac:chgData name="Matsui, Kenta" userId="6ce48ff2-524e-4a52-b040-ec4be8ce3267" providerId="ADAL" clId="{38E00974-09F9-457F-84D5-732EC734A80D}" dt="2025-02-17T09:32:32.979" v="4613"/>
          <ac:spMkLst>
            <pc:docMk/>
            <pc:sldMk cId="753550617" sldId="2147483227"/>
            <ac:spMk id="26" creationId="{3663DF95-FF78-B170-61ED-57DA1EDF9BEC}"/>
          </ac:spMkLst>
        </pc:spChg>
        <pc:grpChg chg="add mod">
          <ac:chgData name="Matsui, Kenta" userId="6ce48ff2-524e-4a52-b040-ec4be8ce3267" providerId="ADAL" clId="{38E00974-09F9-457F-84D5-732EC734A80D}" dt="2025-02-17T09:34:45.425" v="4641" actId="1076"/>
          <ac:grpSpMkLst>
            <pc:docMk/>
            <pc:sldMk cId="753550617" sldId="2147483227"/>
            <ac:grpSpMk id="28" creationId="{8FD86C23-05B6-9613-82F2-8464E89E8FF0}"/>
          </ac:grpSpMkLst>
        </pc:grpChg>
        <pc:graphicFrameChg chg="mod">
          <ac:chgData name="Matsui, Kenta" userId="6ce48ff2-524e-4a52-b040-ec4be8ce3267" providerId="ADAL" clId="{38E00974-09F9-457F-84D5-732EC734A80D}" dt="2025-02-17T07:36:06.187" v="1414"/>
          <ac:graphicFrameMkLst>
            <pc:docMk/>
            <pc:sldMk cId="753550617" sldId="2147483227"/>
            <ac:graphicFrameMk id="24" creationId="{06FF15E6-F69D-3D3A-9EA9-02257E70D2F4}"/>
          </ac:graphicFrameMkLst>
        </pc:graphicFrameChg>
        <pc:picChg chg="mod topLvl">
          <ac:chgData name="Matsui, Kenta" userId="6ce48ff2-524e-4a52-b040-ec4be8ce3267" providerId="ADAL" clId="{38E00974-09F9-457F-84D5-732EC734A80D}" dt="2025-02-17T09:34:40.457" v="4640" actId="164"/>
          <ac:picMkLst>
            <pc:docMk/>
            <pc:sldMk cId="753550617" sldId="2147483227"/>
            <ac:picMk id="3" creationId="{FF98554E-F1DF-6BDD-20C9-A670AB6435EA}"/>
          </ac:picMkLst>
        </pc:picChg>
        <pc:picChg chg="add mod ord">
          <ac:chgData name="Matsui, Kenta" userId="6ce48ff2-524e-4a52-b040-ec4be8ce3267" providerId="ADAL" clId="{38E00974-09F9-457F-84D5-732EC734A80D}" dt="2025-02-17T09:34:51.612" v="4643" actId="1035"/>
          <ac:picMkLst>
            <pc:docMk/>
            <pc:sldMk cId="753550617" sldId="2147483227"/>
            <ac:picMk id="13" creationId="{CD0374F5-F9DB-01D0-7C72-72FE1B9D665B}"/>
          </ac:picMkLst>
        </pc:picChg>
        <pc:picChg chg="add mod">
          <ac:chgData name="Matsui, Kenta" userId="6ce48ff2-524e-4a52-b040-ec4be8ce3267" providerId="ADAL" clId="{38E00974-09F9-457F-84D5-732EC734A80D}" dt="2025-02-14T07:28:56.207" v="1287"/>
          <ac:picMkLst>
            <pc:docMk/>
            <pc:sldMk cId="753550617" sldId="2147483227"/>
            <ac:picMk id="19" creationId="{2786D384-1A71-752A-43CA-FD62DCB44B78}"/>
          </ac:picMkLst>
        </pc:picChg>
      </pc:sldChg>
      <pc:sldChg chg="add del">
        <pc:chgData name="Matsui, Kenta" userId="6ce48ff2-524e-4a52-b040-ec4be8ce3267" providerId="ADAL" clId="{38E00974-09F9-457F-84D5-732EC734A80D}" dt="2025-02-14T07:12:12.302" v="875" actId="47"/>
        <pc:sldMkLst>
          <pc:docMk/>
          <pc:sldMk cId="4147801023" sldId="2147483228"/>
        </pc:sldMkLst>
      </pc:sldChg>
      <pc:sldChg chg="addSp delSp modSp add mod">
        <pc:chgData name="Matsui, Kenta" userId="6ce48ff2-524e-4a52-b040-ec4be8ce3267" providerId="ADAL" clId="{38E00974-09F9-457F-84D5-732EC734A80D}" dt="2025-02-17T09:36:19.839" v="4669"/>
        <pc:sldMkLst>
          <pc:docMk/>
          <pc:sldMk cId="2952963237" sldId="2147483229"/>
        </pc:sldMkLst>
        <pc:spChg chg="mod">
          <ac:chgData name="Matsui, Kenta" userId="6ce48ff2-524e-4a52-b040-ec4be8ce3267" providerId="ADAL" clId="{38E00974-09F9-457F-84D5-732EC734A80D}" dt="2025-02-17T07:36:10.348" v="1422" actId="948"/>
          <ac:spMkLst>
            <pc:docMk/>
            <pc:sldMk cId="2952963237" sldId="2147483229"/>
            <ac:spMk id="6" creationId="{E2269EA0-B8F5-1C4B-7B1B-91225B436958}"/>
          </ac:spMkLst>
        </pc:spChg>
        <pc:spChg chg="mod">
          <ac:chgData name="Matsui, Kenta" userId="6ce48ff2-524e-4a52-b040-ec4be8ce3267" providerId="ADAL" clId="{38E00974-09F9-457F-84D5-732EC734A80D}" dt="2025-02-17T09:33:26.031" v="4628" actId="6549"/>
          <ac:spMkLst>
            <pc:docMk/>
            <pc:sldMk cId="2952963237" sldId="2147483229"/>
            <ac:spMk id="11" creationId="{317B8BED-27B6-6616-7A14-146269B505E1}"/>
          </ac:spMkLst>
        </pc:spChg>
        <pc:spChg chg="mod topLvl">
          <ac:chgData name="Matsui, Kenta" userId="6ce48ff2-524e-4a52-b040-ec4be8ce3267" providerId="ADAL" clId="{38E00974-09F9-457F-84D5-732EC734A80D}" dt="2025-02-17T09:36:19.839" v="4669"/>
          <ac:spMkLst>
            <pc:docMk/>
            <pc:sldMk cId="2952963237" sldId="2147483229"/>
            <ac:spMk id="15" creationId="{0EDA2376-AD73-84D7-4B9E-9B2CA181172A}"/>
          </ac:spMkLst>
        </pc:spChg>
        <pc:spChg chg="mod topLvl">
          <ac:chgData name="Matsui, Kenta" userId="6ce48ff2-524e-4a52-b040-ec4be8ce3267" providerId="ADAL" clId="{38E00974-09F9-457F-84D5-732EC734A80D}" dt="2025-02-17T09:36:19.839" v="4669"/>
          <ac:spMkLst>
            <pc:docMk/>
            <pc:sldMk cId="2952963237" sldId="2147483229"/>
            <ac:spMk id="16" creationId="{039348D6-200D-BDE2-6379-AC1F5E0E26EA}"/>
          </ac:spMkLst>
        </pc:spChg>
        <pc:spChg chg="mod">
          <ac:chgData name="Matsui, Kenta" userId="6ce48ff2-524e-4a52-b040-ec4be8ce3267" providerId="ADAL" clId="{38E00974-09F9-457F-84D5-732EC734A80D}" dt="2025-02-17T09:32:25.995" v="4612" actId="1076"/>
          <ac:spMkLst>
            <pc:docMk/>
            <pc:sldMk cId="2952963237" sldId="2147483229"/>
            <ac:spMk id="25" creationId="{28540D06-3540-A209-CEEF-365E45CC6FBA}"/>
          </ac:spMkLst>
        </pc:spChg>
        <pc:grpChg chg="add mod">
          <ac:chgData name="Matsui, Kenta" userId="6ce48ff2-524e-4a52-b040-ec4be8ce3267" providerId="ADAL" clId="{38E00974-09F9-457F-84D5-732EC734A80D}" dt="2025-02-17T09:36:19.839" v="4669"/>
          <ac:grpSpMkLst>
            <pc:docMk/>
            <pc:sldMk cId="2952963237" sldId="2147483229"/>
            <ac:grpSpMk id="22" creationId="{2DA43ACF-CE6C-AA71-135D-315DCD7752C3}"/>
          </ac:grpSpMkLst>
        </pc:grpChg>
        <pc:graphicFrameChg chg="mod">
          <ac:chgData name="Matsui, Kenta" userId="6ce48ff2-524e-4a52-b040-ec4be8ce3267" providerId="ADAL" clId="{38E00974-09F9-457F-84D5-732EC734A80D}" dt="2025-02-17T07:36:10.348" v="1424"/>
          <ac:graphicFrameMkLst>
            <pc:docMk/>
            <pc:sldMk cId="2952963237" sldId="2147483229"/>
            <ac:graphicFrameMk id="24" creationId="{1B6EDD4A-9D75-1097-7DD3-87C9A9970977}"/>
          </ac:graphicFrameMkLst>
        </pc:graphicFrameChg>
        <pc:picChg chg="add del mod ord">
          <ac:chgData name="Matsui, Kenta" userId="6ce48ff2-524e-4a52-b040-ec4be8ce3267" providerId="ADAL" clId="{38E00974-09F9-457F-84D5-732EC734A80D}" dt="2025-02-17T09:36:11.061" v="4666" actId="1035"/>
          <ac:picMkLst>
            <pc:docMk/>
            <pc:sldMk cId="2952963237" sldId="2147483229"/>
            <ac:picMk id="2" creationId="{767B44CA-13CC-8363-CFDD-1FE2016ED453}"/>
          </ac:picMkLst>
        </pc:picChg>
        <pc:picChg chg="mod topLvl">
          <ac:chgData name="Matsui, Kenta" userId="6ce48ff2-524e-4a52-b040-ec4be8ce3267" providerId="ADAL" clId="{38E00974-09F9-457F-84D5-732EC734A80D}" dt="2025-02-17T09:36:19.839" v="4669"/>
          <ac:picMkLst>
            <pc:docMk/>
            <pc:sldMk cId="2952963237" sldId="2147483229"/>
            <ac:picMk id="8" creationId="{50B75BAE-BF34-D5C7-D930-CC68F795E52C}"/>
          </ac:picMkLst>
        </pc:picChg>
        <pc:picChg chg="add mod">
          <ac:chgData name="Matsui, Kenta" userId="6ce48ff2-524e-4a52-b040-ec4be8ce3267" providerId="ADAL" clId="{38E00974-09F9-457F-84D5-732EC734A80D}" dt="2025-02-14T07:28:56.925" v="1288"/>
          <ac:picMkLst>
            <pc:docMk/>
            <pc:sldMk cId="2952963237" sldId="2147483229"/>
            <ac:picMk id="10" creationId="{9394532F-8EBF-18CC-6E3E-810DAC07CB79}"/>
          </ac:picMkLst>
        </pc:picChg>
      </pc:sldChg>
      <pc:sldChg chg="add">
        <pc:chgData name="Matsui, Kenta" userId="6ce48ff2-524e-4a52-b040-ec4be8ce3267" providerId="ADAL" clId="{38E00974-09F9-457F-84D5-732EC734A80D}" dt="2025-02-17T07:33:53.008" v="1299"/>
        <pc:sldMkLst>
          <pc:docMk/>
          <pc:sldMk cId="2777950891" sldId="2147483230"/>
        </pc:sldMkLst>
      </pc:sldChg>
      <pc:sldChg chg="addSp delSp modSp add mod">
        <pc:chgData name="Matsui, Kenta" userId="6ce48ff2-524e-4a52-b040-ec4be8ce3267" providerId="ADAL" clId="{38E00974-09F9-457F-84D5-732EC734A80D}" dt="2025-02-19T10:16:34.973" v="11102" actId="207"/>
        <pc:sldMkLst>
          <pc:docMk/>
          <pc:sldMk cId="1898753801" sldId="2147483231"/>
        </pc:sldMkLst>
        <pc:spChg chg="mod">
          <ac:chgData name="Matsui, Kenta" userId="6ce48ff2-524e-4a52-b040-ec4be8ce3267" providerId="ADAL" clId="{38E00974-09F9-457F-84D5-732EC734A80D}" dt="2025-02-17T07:56:21.240" v="1801" actId="1076"/>
          <ac:spMkLst>
            <pc:docMk/>
            <pc:sldMk cId="1898753801" sldId="2147483231"/>
            <ac:spMk id="7" creationId="{9D5AEC67-E019-6DCA-E8D2-BB37CC8C836E}"/>
          </ac:spMkLst>
        </pc:spChg>
        <pc:spChg chg="add mod topLvl">
          <ac:chgData name="Matsui, Kenta" userId="6ce48ff2-524e-4a52-b040-ec4be8ce3267" providerId="ADAL" clId="{38E00974-09F9-457F-84D5-732EC734A80D}" dt="2025-02-17T11:14:27.182" v="11028" actId="14100"/>
          <ac:spMkLst>
            <pc:docMk/>
            <pc:sldMk cId="1898753801" sldId="2147483231"/>
            <ac:spMk id="17" creationId="{B5113879-D55B-91A8-1322-CAE7AF7DFECF}"/>
          </ac:spMkLst>
        </pc:spChg>
        <pc:graphicFrameChg chg="add del mod">
          <ac:chgData name="Matsui, Kenta" userId="6ce48ff2-524e-4a52-b040-ec4be8ce3267" providerId="ADAL" clId="{38E00974-09F9-457F-84D5-732EC734A80D}" dt="2025-02-19T10:16:34.973" v="11102" actId="207"/>
          <ac:graphicFrameMkLst>
            <pc:docMk/>
            <pc:sldMk cId="1898753801" sldId="2147483231"/>
            <ac:graphicFrameMk id="11" creationId="{2947A6F4-167C-29DF-98CF-B873D7B17FBF}"/>
          </ac:graphicFrameMkLst>
        </pc:graphicFrameChg>
      </pc:sldChg>
      <pc:sldChg chg="add del">
        <pc:chgData name="Matsui, Kenta" userId="6ce48ff2-524e-4a52-b040-ec4be8ce3267" providerId="ADAL" clId="{38E00974-09F9-457F-84D5-732EC734A80D}" dt="2025-02-17T11:14:55.623" v="11032" actId="47"/>
        <pc:sldMkLst>
          <pc:docMk/>
          <pc:sldMk cId="3288100166" sldId="2147483232"/>
        </pc:sldMkLst>
      </pc:sldChg>
      <pc:sldChg chg="addSp modSp add del mod">
        <pc:chgData name="Matsui, Kenta" userId="6ce48ff2-524e-4a52-b040-ec4be8ce3267" providerId="ADAL" clId="{38E00974-09F9-457F-84D5-732EC734A80D}" dt="2025-02-19T11:35:31.047" v="25449" actId="47"/>
        <pc:sldMkLst>
          <pc:docMk/>
          <pc:sldMk cId="3202078620" sldId="2147483233"/>
        </pc:sldMkLst>
        <pc:spChg chg="mod">
          <ac:chgData name="Matsui, Kenta" userId="6ce48ff2-524e-4a52-b040-ec4be8ce3267" providerId="ADAL" clId="{38E00974-09F9-457F-84D5-732EC734A80D}" dt="2025-02-17T08:30:07.058" v="4311"/>
          <ac:spMkLst>
            <pc:docMk/>
            <pc:sldMk cId="3202078620" sldId="2147483233"/>
            <ac:spMk id="2" creationId="{6A0009E7-B003-72CB-1EC0-5175D8F3FE89}"/>
          </ac:spMkLst>
        </pc:spChg>
        <pc:spChg chg="add mod">
          <ac:chgData name="Matsui, Kenta" userId="6ce48ff2-524e-4a52-b040-ec4be8ce3267" providerId="ADAL" clId="{38E00974-09F9-457F-84D5-732EC734A80D}" dt="2025-02-17T08:30:27.256" v="4362" actId="1076"/>
          <ac:spMkLst>
            <pc:docMk/>
            <pc:sldMk cId="3202078620" sldId="2147483233"/>
            <ac:spMk id="9" creationId="{1C4666B3-7B36-2B3A-ED5E-C8080316B1E4}"/>
          </ac:spMkLst>
        </pc:spChg>
        <pc:spChg chg="mod">
          <ac:chgData name="Matsui, Kenta" userId="6ce48ff2-524e-4a52-b040-ec4be8ce3267" providerId="ADAL" clId="{38E00974-09F9-457F-84D5-732EC734A80D}" dt="2025-02-17T08:29:45.519" v="4269" actId="948"/>
          <ac:spMkLst>
            <pc:docMk/>
            <pc:sldMk cId="3202078620" sldId="2147483233"/>
            <ac:spMk id="51" creationId="{DF91583D-50FF-7C0D-B006-F75E13A78779}"/>
          </ac:spMkLst>
        </pc:spChg>
        <pc:graphicFrameChg chg="mod">
          <ac:chgData name="Matsui, Kenta" userId="6ce48ff2-524e-4a52-b040-ec4be8ce3267" providerId="ADAL" clId="{38E00974-09F9-457F-84D5-732EC734A80D}" dt="2025-02-17T11:16:36.810" v="11087"/>
          <ac:graphicFrameMkLst>
            <pc:docMk/>
            <pc:sldMk cId="3202078620" sldId="2147483233"/>
            <ac:graphicFrameMk id="7" creationId="{59E494D1-B38A-AE1F-E462-A00132E9BB4C}"/>
          </ac:graphicFrameMkLst>
        </pc:graphicFrameChg>
      </pc:sldChg>
      <pc:sldChg chg="addSp modSp add del mod ord">
        <pc:chgData name="Matsui, Kenta" userId="6ce48ff2-524e-4a52-b040-ec4be8ce3267" providerId="ADAL" clId="{38E00974-09F9-457F-84D5-732EC734A80D}" dt="2025-02-19T11:35:31.047" v="25449" actId="47"/>
        <pc:sldMkLst>
          <pc:docMk/>
          <pc:sldMk cId="1194269837" sldId="2147483234"/>
        </pc:sldMkLst>
        <pc:spChg chg="mod">
          <ac:chgData name="Matsui, Kenta" userId="6ce48ff2-524e-4a52-b040-ec4be8ce3267" providerId="ADAL" clId="{38E00974-09F9-457F-84D5-732EC734A80D}" dt="2025-02-17T08:30:04.384" v="4308"/>
          <ac:spMkLst>
            <pc:docMk/>
            <pc:sldMk cId="1194269837" sldId="2147483234"/>
            <ac:spMk id="2" creationId="{3FAB595A-8FFF-354A-8ED9-402746D3EF63}"/>
          </ac:spMkLst>
        </pc:spChg>
        <pc:spChg chg="add mod">
          <ac:chgData name="Matsui, Kenta" userId="6ce48ff2-524e-4a52-b040-ec4be8ce3267" providerId="ADAL" clId="{38E00974-09F9-457F-84D5-732EC734A80D}" dt="2025-02-17T10:30:19.967" v="7689" actId="1076"/>
          <ac:spMkLst>
            <pc:docMk/>
            <pc:sldMk cId="1194269837" sldId="2147483234"/>
            <ac:spMk id="9" creationId="{43847EAC-B308-F56C-D735-C1B7F3BFC2FF}"/>
          </ac:spMkLst>
        </pc:spChg>
        <pc:spChg chg="mod">
          <ac:chgData name="Matsui, Kenta" userId="6ce48ff2-524e-4a52-b040-ec4be8ce3267" providerId="ADAL" clId="{38E00974-09F9-457F-84D5-732EC734A80D}" dt="2025-02-17T08:29:56.712" v="4301" actId="948"/>
          <ac:spMkLst>
            <pc:docMk/>
            <pc:sldMk cId="1194269837" sldId="2147483234"/>
            <ac:spMk id="51" creationId="{40EEC233-F20E-057F-AB46-CDC5B151218D}"/>
          </ac:spMkLst>
        </pc:spChg>
        <pc:graphicFrameChg chg="mod">
          <ac:chgData name="Matsui, Kenta" userId="6ce48ff2-524e-4a52-b040-ec4be8ce3267" providerId="ADAL" clId="{38E00974-09F9-457F-84D5-732EC734A80D}" dt="2025-02-17T11:16:36.778" v="11085"/>
          <ac:graphicFrameMkLst>
            <pc:docMk/>
            <pc:sldMk cId="1194269837" sldId="2147483234"/>
            <ac:graphicFrameMk id="7" creationId="{9A3A07EB-B21B-CF35-04CA-B2BF7D0F0056}"/>
          </ac:graphicFrameMkLst>
        </pc:graphicFrameChg>
      </pc:sldChg>
      <pc:sldChg chg="add del">
        <pc:chgData name="Matsui, Kenta" userId="6ce48ff2-524e-4a52-b040-ec4be8ce3267" providerId="ADAL" clId="{38E00974-09F9-457F-84D5-732EC734A80D}" dt="2025-02-17T09:25:53.932" v="4472" actId="2696"/>
        <pc:sldMkLst>
          <pc:docMk/>
          <pc:sldMk cId="1793777336" sldId="2147483235"/>
        </pc:sldMkLst>
      </pc:sldChg>
      <pc:sldChg chg="add del">
        <pc:chgData name="Matsui, Kenta" userId="6ce48ff2-524e-4a52-b040-ec4be8ce3267" providerId="ADAL" clId="{38E00974-09F9-457F-84D5-732EC734A80D}" dt="2025-02-17T09:28:01.980" v="4501" actId="47"/>
        <pc:sldMkLst>
          <pc:docMk/>
          <pc:sldMk cId="1898913301" sldId="2147483235"/>
        </pc:sldMkLst>
      </pc:sldChg>
      <pc:sldChg chg="addSp delSp modSp add del mod">
        <pc:chgData name="Matsui, Kenta" userId="6ce48ff2-524e-4a52-b040-ec4be8ce3267" providerId="ADAL" clId="{38E00974-09F9-457F-84D5-732EC734A80D}" dt="2025-02-17T09:40:53.928" v="4814" actId="47"/>
        <pc:sldMkLst>
          <pc:docMk/>
          <pc:sldMk cId="2427820524" sldId="2147483235"/>
        </pc:sldMkLst>
      </pc:sldChg>
      <pc:sldChg chg="addSp delSp modSp add del mod modClrScheme chgLayout">
        <pc:chgData name="Matsui, Kenta" userId="6ce48ff2-524e-4a52-b040-ec4be8ce3267" providerId="ADAL" clId="{38E00974-09F9-457F-84D5-732EC734A80D}" dt="2025-02-17T09:43:56.040" v="4842" actId="47"/>
        <pc:sldMkLst>
          <pc:docMk/>
          <pc:sldMk cId="3792005790" sldId="2147483236"/>
        </pc:sldMkLst>
      </pc:sldChg>
      <pc:sldChg chg="addSp delSp modSp add del mod modClrScheme chgLayout">
        <pc:chgData name="Matsui, Kenta" userId="6ce48ff2-524e-4a52-b040-ec4be8ce3267" providerId="ADAL" clId="{38E00974-09F9-457F-84D5-732EC734A80D}" dt="2025-02-17T09:48:31.798" v="4857" actId="47"/>
        <pc:sldMkLst>
          <pc:docMk/>
          <pc:sldMk cId="3261269724" sldId="2147483237"/>
        </pc:sldMkLst>
      </pc:sldChg>
      <pc:sldChg chg="add del">
        <pc:chgData name="Matsui, Kenta" userId="6ce48ff2-524e-4a52-b040-ec4be8ce3267" providerId="ADAL" clId="{38E00974-09F9-457F-84D5-732EC734A80D}" dt="2025-02-17T09:43:40.012" v="4838" actId="47"/>
        <pc:sldMkLst>
          <pc:docMk/>
          <pc:sldMk cId="3220911056" sldId="2147483238"/>
        </pc:sldMkLst>
      </pc:sldChg>
      <pc:sldChg chg="addSp delSp modSp add del mod">
        <pc:chgData name="Matsui, Kenta" userId="6ce48ff2-524e-4a52-b040-ec4be8ce3267" providerId="ADAL" clId="{38E00974-09F9-457F-84D5-732EC734A80D}" dt="2025-02-17T09:43:48.510" v="4840" actId="47"/>
        <pc:sldMkLst>
          <pc:docMk/>
          <pc:sldMk cId="2157366269" sldId="2147483239"/>
        </pc:sldMkLst>
      </pc:sldChg>
      <pc:sldChg chg="modSp add del mod">
        <pc:chgData name="Matsui, Kenta" userId="6ce48ff2-524e-4a52-b040-ec4be8ce3267" providerId="ADAL" clId="{38E00974-09F9-457F-84D5-732EC734A80D}" dt="2025-02-17T09:43:54.980" v="4841" actId="47"/>
        <pc:sldMkLst>
          <pc:docMk/>
          <pc:sldMk cId="1900244647" sldId="2147483240"/>
        </pc:sldMkLst>
      </pc:sldChg>
      <pc:sldChg chg="addSp delSp modSp add mod">
        <pc:chgData name="Matsui, Kenta" userId="6ce48ff2-524e-4a52-b040-ec4be8ce3267" providerId="ADAL" clId="{38E00974-09F9-457F-84D5-732EC734A80D}" dt="2025-02-17T09:41:38.505" v="4836"/>
        <pc:sldMkLst>
          <pc:docMk/>
          <pc:sldMk cId="3717214586" sldId="2147483241"/>
        </pc:sldMkLst>
        <pc:spChg chg="add mod">
          <ac:chgData name="Matsui, Kenta" userId="6ce48ff2-524e-4a52-b040-ec4be8ce3267" providerId="ADAL" clId="{38E00974-09F9-457F-84D5-732EC734A80D}" dt="2025-02-17T09:41:38.505" v="4836"/>
          <ac:spMkLst>
            <pc:docMk/>
            <pc:sldMk cId="3717214586" sldId="2147483241"/>
            <ac:spMk id="13" creationId="{D14B92A6-AF57-033C-924C-4AD132A3CC73}"/>
          </ac:spMkLst>
        </pc:spChg>
        <pc:spChg chg="add mod">
          <ac:chgData name="Matsui, Kenta" userId="6ce48ff2-524e-4a52-b040-ec4be8ce3267" providerId="ADAL" clId="{38E00974-09F9-457F-84D5-732EC734A80D}" dt="2025-02-17T09:41:38.505" v="4836"/>
          <ac:spMkLst>
            <pc:docMk/>
            <pc:sldMk cId="3717214586" sldId="2147483241"/>
            <ac:spMk id="18" creationId="{06D8CBFA-0DB8-679C-E26D-05E4F26EA96A}"/>
          </ac:spMkLst>
        </pc:spChg>
        <pc:spChg chg="add mod">
          <ac:chgData name="Matsui, Kenta" userId="6ce48ff2-524e-4a52-b040-ec4be8ce3267" providerId="ADAL" clId="{38E00974-09F9-457F-84D5-732EC734A80D}" dt="2025-02-17T09:41:38.505" v="4836"/>
          <ac:spMkLst>
            <pc:docMk/>
            <pc:sldMk cId="3717214586" sldId="2147483241"/>
            <ac:spMk id="26" creationId="{894323B4-D1CF-64BC-D1B8-517DA2D6BE4E}"/>
          </ac:spMkLst>
        </pc:spChg>
        <pc:spChg chg="add mod">
          <ac:chgData name="Matsui, Kenta" userId="6ce48ff2-524e-4a52-b040-ec4be8ce3267" providerId="ADAL" clId="{38E00974-09F9-457F-84D5-732EC734A80D}" dt="2025-02-17T09:41:38.505" v="4836"/>
          <ac:spMkLst>
            <pc:docMk/>
            <pc:sldMk cId="3717214586" sldId="2147483241"/>
            <ac:spMk id="27" creationId="{F35F4D5B-912B-13A5-D8A6-08274DF2744D}"/>
          </ac:spMkLst>
        </pc:spChg>
        <pc:spChg chg="add mod">
          <ac:chgData name="Matsui, Kenta" userId="6ce48ff2-524e-4a52-b040-ec4be8ce3267" providerId="ADAL" clId="{38E00974-09F9-457F-84D5-732EC734A80D}" dt="2025-02-17T09:41:38.505" v="4836"/>
          <ac:spMkLst>
            <pc:docMk/>
            <pc:sldMk cId="3717214586" sldId="2147483241"/>
            <ac:spMk id="32" creationId="{2047671F-0752-9098-25D9-5A097CCB6206}"/>
          </ac:spMkLst>
        </pc:spChg>
        <pc:spChg chg="add mod">
          <ac:chgData name="Matsui, Kenta" userId="6ce48ff2-524e-4a52-b040-ec4be8ce3267" providerId="ADAL" clId="{38E00974-09F9-457F-84D5-732EC734A80D}" dt="2025-02-17T09:41:38.505" v="4836"/>
          <ac:spMkLst>
            <pc:docMk/>
            <pc:sldMk cId="3717214586" sldId="2147483241"/>
            <ac:spMk id="39" creationId="{292CCBE0-7EA5-D8B5-3F37-4FAAE10EF0BE}"/>
          </ac:spMkLst>
        </pc:spChg>
        <pc:spChg chg="add mod">
          <ac:chgData name="Matsui, Kenta" userId="6ce48ff2-524e-4a52-b040-ec4be8ce3267" providerId="ADAL" clId="{38E00974-09F9-457F-84D5-732EC734A80D}" dt="2025-02-17T09:41:38.505" v="4836"/>
          <ac:spMkLst>
            <pc:docMk/>
            <pc:sldMk cId="3717214586" sldId="2147483241"/>
            <ac:spMk id="40" creationId="{D3942927-EFD7-5BCF-5B42-8D4C3959F60B}"/>
          </ac:spMkLst>
        </pc:spChg>
        <pc:spChg chg="add mod">
          <ac:chgData name="Matsui, Kenta" userId="6ce48ff2-524e-4a52-b040-ec4be8ce3267" providerId="ADAL" clId="{38E00974-09F9-457F-84D5-732EC734A80D}" dt="2025-02-17T09:41:38.505" v="4836"/>
          <ac:spMkLst>
            <pc:docMk/>
            <pc:sldMk cId="3717214586" sldId="2147483241"/>
            <ac:spMk id="42" creationId="{C9908137-AF7B-3910-BE5F-5124BE9691FD}"/>
          </ac:spMkLst>
        </pc:spChg>
        <pc:spChg chg="add mod">
          <ac:chgData name="Matsui, Kenta" userId="6ce48ff2-524e-4a52-b040-ec4be8ce3267" providerId="ADAL" clId="{38E00974-09F9-457F-84D5-732EC734A80D}" dt="2025-02-17T09:41:38.505" v="4836"/>
          <ac:spMkLst>
            <pc:docMk/>
            <pc:sldMk cId="3717214586" sldId="2147483241"/>
            <ac:spMk id="54" creationId="{343478CE-366E-1791-05F8-B947B9F1433A}"/>
          </ac:spMkLst>
        </pc:spChg>
        <pc:spChg chg="add mod">
          <ac:chgData name="Matsui, Kenta" userId="6ce48ff2-524e-4a52-b040-ec4be8ce3267" providerId="ADAL" clId="{38E00974-09F9-457F-84D5-732EC734A80D}" dt="2025-02-17T09:41:38.505" v="4836"/>
          <ac:spMkLst>
            <pc:docMk/>
            <pc:sldMk cId="3717214586" sldId="2147483241"/>
            <ac:spMk id="68" creationId="{20DACEAE-1495-3B9B-E351-88A0D0F338F8}"/>
          </ac:spMkLst>
        </pc:spChg>
      </pc:sldChg>
      <pc:sldChg chg="addSp delSp modSp add mod">
        <pc:chgData name="Matsui, Kenta" userId="6ce48ff2-524e-4a52-b040-ec4be8ce3267" providerId="ADAL" clId="{38E00974-09F9-457F-84D5-732EC734A80D}" dt="2025-02-17T09:43:46.575" v="4839"/>
        <pc:sldMkLst>
          <pc:docMk/>
          <pc:sldMk cId="2521551393" sldId="2147483242"/>
        </pc:sldMkLst>
        <pc:spChg chg="add mod">
          <ac:chgData name="Matsui, Kenta" userId="6ce48ff2-524e-4a52-b040-ec4be8ce3267" providerId="ADAL" clId="{38E00974-09F9-457F-84D5-732EC734A80D}" dt="2025-02-17T09:43:46.575" v="4839"/>
          <ac:spMkLst>
            <pc:docMk/>
            <pc:sldMk cId="2521551393" sldId="2147483242"/>
            <ac:spMk id="2" creationId="{06829677-F968-5297-F136-14B5B969498A}"/>
          </ac:spMkLst>
        </pc:spChg>
      </pc:sldChg>
      <pc:sldChg chg="addSp delSp modSp add mod">
        <pc:chgData name="Matsui, Kenta" userId="6ce48ff2-524e-4a52-b040-ec4be8ce3267" providerId="ADAL" clId="{38E00974-09F9-457F-84D5-732EC734A80D}" dt="2025-02-19T11:35:15.436" v="25447" actId="6549"/>
        <pc:sldMkLst>
          <pc:docMk/>
          <pc:sldMk cId="406962997" sldId="2147483243"/>
        </pc:sldMkLst>
        <pc:spChg chg="mod">
          <ac:chgData name="Matsui, Kenta" userId="6ce48ff2-524e-4a52-b040-ec4be8ce3267" providerId="ADAL" clId="{38E00974-09F9-457F-84D5-732EC734A80D}" dt="2025-02-19T11:00:36.601" v="18982" actId="14100"/>
          <ac:spMkLst>
            <pc:docMk/>
            <pc:sldMk cId="406962997" sldId="2147483243"/>
            <ac:spMk id="25" creationId="{FE63AB97-9FF5-B2B1-6488-348FB30A463B}"/>
          </ac:spMkLst>
        </pc:spChg>
        <pc:spChg chg="mod">
          <ac:chgData name="Matsui, Kenta" userId="6ce48ff2-524e-4a52-b040-ec4be8ce3267" providerId="ADAL" clId="{38E00974-09F9-457F-84D5-732EC734A80D}" dt="2025-02-19T11:35:15.436" v="25447" actId="6549"/>
          <ac:spMkLst>
            <pc:docMk/>
            <pc:sldMk cId="406962997" sldId="2147483243"/>
            <ac:spMk id="56" creationId="{534AC416-0FC2-8BF0-7FDA-7A2F140D3CF0}"/>
          </ac:spMkLst>
        </pc:spChg>
        <pc:spChg chg="mod">
          <ac:chgData name="Matsui, Kenta" userId="6ce48ff2-524e-4a52-b040-ec4be8ce3267" providerId="ADAL" clId="{38E00974-09F9-457F-84D5-732EC734A80D}" dt="2025-02-19T11:05:22.758" v="19507" actId="20577"/>
          <ac:spMkLst>
            <pc:docMk/>
            <pc:sldMk cId="406962997" sldId="2147483243"/>
            <ac:spMk id="63" creationId="{886285FD-26D8-0ACD-9255-B27DB654979A}"/>
          </ac:spMkLst>
        </pc:spChg>
        <pc:spChg chg="mod">
          <ac:chgData name="Matsui, Kenta" userId="6ce48ff2-524e-4a52-b040-ec4be8ce3267" providerId="ADAL" clId="{38E00974-09F9-457F-84D5-732EC734A80D}" dt="2025-02-17T11:15:13.100" v="11042" actId="403"/>
          <ac:spMkLst>
            <pc:docMk/>
            <pc:sldMk cId="406962997" sldId="2147483243"/>
            <ac:spMk id="64" creationId="{59DF2C3B-A563-FD48-A04A-129145235A69}"/>
          </ac:spMkLst>
        </pc:spChg>
        <pc:spChg chg="mod">
          <ac:chgData name="Matsui, Kenta" userId="6ce48ff2-524e-4a52-b040-ec4be8ce3267" providerId="ADAL" clId="{38E00974-09F9-457F-84D5-732EC734A80D}" dt="2025-02-19T11:30:43.300" v="25058"/>
          <ac:spMkLst>
            <pc:docMk/>
            <pc:sldMk cId="406962997" sldId="2147483243"/>
            <ac:spMk id="65" creationId="{3DF49C54-CB38-132D-7788-8E3B8E49B6C7}"/>
          </ac:spMkLst>
        </pc:spChg>
        <pc:spChg chg="mod">
          <ac:chgData name="Matsui, Kenta" userId="6ce48ff2-524e-4a52-b040-ec4be8ce3267" providerId="ADAL" clId="{38E00974-09F9-457F-84D5-732EC734A80D}" dt="2025-02-17T11:15:32.025" v="11043" actId="207"/>
          <ac:spMkLst>
            <pc:docMk/>
            <pc:sldMk cId="406962997" sldId="2147483243"/>
            <ac:spMk id="72" creationId="{F203290C-2DB1-E007-594E-51EAA1589347}"/>
          </ac:spMkLst>
        </pc:spChg>
        <pc:spChg chg="mod">
          <ac:chgData name="Matsui, Kenta" userId="6ce48ff2-524e-4a52-b040-ec4be8ce3267" providerId="ADAL" clId="{38E00974-09F9-457F-84D5-732EC734A80D}" dt="2025-02-17T11:15:36.158" v="11044" actId="207"/>
          <ac:spMkLst>
            <pc:docMk/>
            <pc:sldMk cId="406962997" sldId="2147483243"/>
            <ac:spMk id="75" creationId="{BCE9BD7F-136A-1E4D-AE1D-F1C059C84181}"/>
          </ac:spMkLst>
        </pc:spChg>
        <pc:spChg chg="mod">
          <ac:chgData name="Matsui, Kenta" userId="6ce48ff2-524e-4a52-b040-ec4be8ce3267" providerId="ADAL" clId="{38E00974-09F9-457F-84D5-732EC734A80D}" dt="2025-02-17T11:15:36.158" v="11044" actId="207"/>
          <ac:spMkLst>
            <pc:docMk/>
            <pc:sldMk cId="406962997" sldId="2147483243"/>
            <ac:spMk id="79" creationId="{D3ACE8CF-C49C-4D90-1828-9915DBD3AF90}"/>
          </ac:spMkLst>
        </pc:spChg>
        <pc:spChg chg="mod">
          <ac:chgData name="Matsui, Kenta" userId="6ce48ff2-524e-4a52-b040-ec4be8ce3267" providerId="ADAL" clId="{38E00974-09F9-457F-84D5-732EC734A80D}" dt="2025-02-17T11:16:24.900" v="11081" actId="6549"/>
          <ac:spMkLst>
            <pc:docMk/>
            <pc:sldMk cId="406962997" sldId="2147483243"/>
            <ac:spMk id="83" creationId="{C51B068C-1F03-D03E-721D-480B01ADE83E}"/>
          </ac:spMkLst>
        </pc:spChg>
        <pc:graphicFrameChg chg="mod">
          <ac:chgData name="Matsui, Kenta" userId="6ce48ff2-524e-4a52-b040-ec4be8ce3267" providerId="ADAL" clId="{38E00974-09F9-457F-84D5-732EC734A80D}" dt="2025-02-19T11:25:30.508" v="24493" actId="113"/>
          <ac:graphicFrameMkLst>
            <pc:docMk/>
            <pc:sldMk cId="406962997" sldId="2147483243"/>
            <ac:graphicFrameMk id="8" creationId="{776B0B1D-C401-5150-77D7-25ECAE2D455C}"/>
          </ac:graphicFrameMkLst>
        </pc:graphicFrameChg>
        <pc:picChg chg="add del mod">
          <ac:chgData name="Matsui, Kenta" userId="6ce48ff2-524e-4a52-b040-ec4be8ce3267" providerId="ADAL" clId="{38E00974-09F9-457F-84D5-732EC734A80D}" dt="2025-02-19T10:40:46.927" v="15896" actId="571"/>
          <ac:picMkLst>
            <pc:docMk/>
            <pc:sldMk cId="406962997" sldId="2147483243"/>
            <ac:picMk id="11" creationId="{6A4E3E72-E0D1-7F4B-D6DA-A6D56316B3A2}"/>
          </ac:picMkLst>
        </pc:picChg>
      </pc:sldChg>
      <pc:sldChg chg="add del">
        <pc:chgData name="Matsui, Kenta" userId="6ce48ff2-524e-4a52-b040-ec4be8ce3267" providerId="ADAL" clId="{38E00974-09F9-457F-84D5-732EC734A80D}" dt="2025-02-17T09:47:51.288" v="4855" actId="47"/>
        <pc:sldMkLst>
          <pc:docMk/>
          <pc:sldMk cId="2712903478" sldId="2147483243"/>
        </pc:sldMkLst>
      </pc:sldChg>
      <pc:sldChg chg="add del">
        <pc:chgData name="Matsui, Kenta" userId="6ce48ff2-524e-4a52-b040-ec4be8ce3267" providerId="ADAL" clId="{38E00974-09F9-457F-84D5-732EC734A80D}" dt="2025-02-17T11:13:43.603" v="11024" actId="47"/>
        <pc:sldMkLst>
          <pc:docMk/>
          <pc:sldMk cId="3636238730" sldId="2147483243"/>
        </pc:sldMkLst>
      </pc:sldChg>
      <pc:sldChg chg="addSp delSp modSp add mod">
        <pc:chgData name="Matsui, Kenta" userId="6ce48ff2-524e-4a52-b040-ec4be8ce3267" providerId="ADAL" clId="{38E00974-09F9-457F-84D5-732EC734A80D}" dt="2025-02-19T11:33:21.101" v="25096" actId="21"/>
        <pc:sldMkLst>
          <pc:docMk/>
          <pc:sldMk cId="810525126" sldId="2147483244"/>
        </pc:sldMkLst>
        <pc:spChg chg="mod">
          <ac:chgData name="Matsui, Kenta" userId="6ce48ff2-524e-4a52-b040-ec4be8ce3267" providerId="ADAL" clId="{38E00974-09F9-457F-84D5-732EC734A80D}" dt="2025-02-19T10:42:12.625" v="15907" actId="1076"/>
          <ac:spMkLst>
            <pc:docMk/>
            <pc:sldMk cId="810525126" sldId="2147483244"/>
            <ac:spMk id="10" creationId="{F2FE8764-B2BC-118B-20D3-9618A2FB0D51}"/>
          </ac:spMkLst>
        </pc:spChg>
        <pc:spChg chg="add del mod modVis">
          <ac:chgData name="Matsui, Kenta" userId="6ce48ff2-524e-4a52-b040-ec4be8ce3267" providerId="ADAL" clId="{38E00974-09F9-457F-84D5-732EC734A80D}" dt="2025-02-19T10:17:27.453" v="11175"/>
          <ac:spMkLst>
            <pc:docMk/>
            <pc:sldMk cId="810525126" sldId="2147483244"/>
            <ac:spMk id="11" creationId="{AD31F23D-6D4D-832F-9C26-1DADFBCFE6CA}"/>
          </ac:spMkLst>
        </pc:spChg>
        <pc:spChg chg="add del mod modVis">
          <ac:chgData name="Matsui, Kenta" userId="6ce48ff2-524e-4a52-b040-ec4be8ce3267" providerId="ADAL" clId="{38E00974-09F9-457F-84D5-732EC734A80D}" dt="2025-02-19T10:17:29.752" v="11205"/>
          <ac:spMkLst>
            <pc:docMk/>
            <pc:sldMk cId="810525126" sldId="2147483244"/>
            <ac:spMk id="12" creationId="{B5F10EB0-6AF0-92C6-2AE6-C3E08DED54C1}"/>
          </ac:spMkLst>
        </pc:spChg>
        <pc:spChg chg="add del mod modVis">
          <ac:chgData name="Matsui, Kenta" userId="6ce48ff2-524e-4a52-b040-ec4be8ce3267" providerId="ADAL" clId="{38E00974-09F9-457F-84D5-732EC734A80D}" dt="2025-02-19T10:17:30.705" v="11241"/>
          <ac:spMkLst>
            <pc:docMk/>
            <pc:sldMk cId="810525126" sldId="2147483244"/>
            <ac:spMk id="13" creationId="{0D3C12A1-3A2C-0AFD-3C67-596CF3A95EEA}"/>
          </ac:spMkLst>
        </pc:spChg>
        <pc:spChg chg="add del mod modVis">
          <ac:chgData name="Matsui, Kenta" userId="6ce48ff2-524e-4a52-b040-ec4be8ce3267" providerId="ADAL" clId="{38E00974-09F9-457F-84D5-732EC734A80D}" dt="2025-02-19T10:18:41.327" v="11281"/>
          <ac:spMkLst>
            <pc:docMk/>
            <pc:sldMk cId="810525126" sldId="2147483244"/>
            <ac:spMk id="15" creationId="{B2C5B5E3-FB2D-65C1-79AD-DD260A70596B}"/>
          </ac:spMkLst>
        </pc:spChg>
        <pc:spChg chg="add del mod modVis">
          <ac:chgData name="Matsui, Kenta" userId="6ce48ff2-524e-4a52-b040-ec4be8ce3267" providerId="ADAL" clId="{38E00974-09F9-457F-84D5-732EC734A80D}" dt="2025-02-19T10:18:41.859" v="11307"/>
          <ac:spMkLst>
            <pc:docMk/>
            <pc:sldMk cId="810525126" sldId="2147483244"/>
            <ac:spMk id="16" creationId="{B641FF98-4EA3-5341-FD4E-2B5FAA7C9895}"/>
          </ac:spMkLst>
        </pc:spChg>
        <pc:spChg chg="add del mod modVis">
          <ac:chgData name="Matsui, Kenta" userId="6ce48ff2-524e-4a52-b040-ec4be8ce3267" providerId="ADAL" clId="{38E00974-09F9-457F-84D5-732EC734A80D}" dt="2025-02-19T10:18:48.175" v="11333"/>
          <ac:spMkLst>
            <pc:docMk/>
            <pc:sldMk cId="810525126" sldId="2147483244"/>
            <ac:spMk id="17" creationId="{817C4687-F0D9-8D26-4ABE-5E8C0D7A8EE8}"/>
          </ac:spMkLst>
        </pc:spChg>
        <pc:spChg chg="add del mod modVis">
          <ac:chgData name="Matsui, Kenta" userId="6ce48ff2-524e-4a52-b040-ec4be8ce3267" providerId="ADAL" clId="{38E00974-09F9-457F-84D5-732EC734A80D}" dt="2025-02-19T10:19:17.462" v="11381"/>
          <ac:spMkLst>
            <pc:docMk/>
            <pc:sldMk cId="810525126" sldId="2147483244"/>
            <ac:spMk id="18" creationId="{190764E8-C467-C62C-C722-95AB1C626D58}"/>
          </ac:spMkLst>
        </pc:spChg>
        <pc:spChg chg="add del mod modVis">
          <ac:chgData name="Matsui, Kenta" userId="6ce48ff2-524e-4a52-b040-ec4be8ce3267" providerId="ADAL" clId="{38E00974-09F9-457F-84D5-732EC734A80D}" dt="2025-02-19T10:19:23.739" v="11423"/>
          <ac:spMkLst>
            <pc:docMk/>
            <pc:sldMk cId="810525126" sldId="2147483244"/>
            <ac:spMk id="19" creationId="{E1758A91-8253-6D71-0E5E-CDAA50640496}"/>
          </ac:spMkLst>
        </pc:spChg>
        <pc:spChg chg="add del mod modVis">
          <ac:chgData name="Matsui, Kenta" userId="6ce48ff2-524e-4a52-b040-ec4be8ce3267" providerId="ADAL" clId="{38E00974-09F9-457F-84D5-732EC734A80D}" dt="2025-02-19T10:19:24.325" v="11449"/>
          <ac:spMkLst>
            <pc:docMk/>
            <pc:sldMk cId="810525126" sldId="2147483244"/>
            <ac:spMk id="20" creationId="{BBDC536B-A518-09BF-8540-D89F3B95CF63}"/>
          </ac:spMkLst>
        </pc:spChg>
        <pc:spChg chg="add del mod modVis">
          <ac:chgData name="Matsui, Kenta" userId="6ce48ff2-524e-4a52-b040-ec4be8ce3267" providerId="ADAL" clId="{38E00974-09F9-457F-84D5-732EC734A80D}" dt="2025-02-19T10:19:32.825" v="11485"/>
          <ac:spMkLst>
            <pc:docMk/>
            <pc:sldMk cId="810525126" sldId="2147483244"/>
            <ac:spMk id="21" creationId="{36546418-7684-45E7-273A-219380C4628D}"/>
          </ac:spMkLst>
        </pc:spChg>
        <pc:spChg chg="mod">
          <ac:chgData name="Matsui, Kenta" userId="6ce48ff2-524e-4a52-b040-ec4be8ce3267" providerId="ADAL" clId="{38E00974-09F9-457F-84D5-732EC734A80D}" dt="2025-02-19T10:59:27.543" v="18931"/>
          <ac:spMkLst>
            <pc:docMk/>
            <pc:sldMk cId="810525126" sldId="2147483244"/>
            <ac:spMk id="22" creationId="{AE84ACE0-AAA2-6FA7-4E55-60B894EC1DA0}"/>
          </ac:spMkLst>
        </pc:spChg>
        <pc:spChg chg="add del mod modVis">
          <ac:chgData name="Matsui, Kenta" userId="6ce48ff2-524e-4a52-b040-ec4be8ce3267" providerId="ADAL" clId="{38E00974-09F9-457F-84D5-732EC734A80D}" dt="2025-02-19T10:19:35.503" v="11535"/>
          <ac:spMkLst>
            <pc:docMk/>
            <pc:sldMk cId="810525126" sldId="2147483244"/>
            <ac:spMk id="24" creationId="{1EA36C24-B3E0-006C-D7D6-8F9562D4BC12}"/>
          </ac:spMkLst>
        </pc:spChg>
        <pc:spChg chg="del">
          <ac:chgData name="Matsui, Kenta" userId="6ce48ff2-524e-4a52-b040-ec4be8ce3267" providerId="ADAL" clId="{38E00974-09F9-457F-84D5-732EC734A80D}" dt="2025-02-19T10:48:56.337" v="17539" actId="21"/>
          <ac:spMkLst>
            <pc:docMk/>
            <pc:sldMk cId="810525126" sldId="2147483244"/>
            <ac:spMk id="25" creationId="{DCE04991-E449-EE65-5833-3ED34E936989}"/>
          </ac:spMkLst>
        </pc:spChg>
        <pc:spChg chg="add del mod modVis">
          <ac:chgData name="Matsui, Kenta" userId="6ce48ff2-524e-4a52-b040-ec4be8ce3267" providerId="ADAL" clId="{38E00974-09F9-457F-84D5-732EC734A80D}" dt="2025-02-19T10:20:13.624" v="11582"/>
          <ac:spMkLst>
            <pc:docMk/>
            <pc:sldMk cId="810525126" sldId="2147483244"/>
            <ac:spMk id="26" creationId="{E699D2C5-0218-0B17-A8EC-DA077391447C}"/>
          </ac:spMkLst>
        </pc:spChg>
        <pc:spChg chg="add del mod modVis">
          <ac:chgData name="Matsui, Kenta" userId="6ce48ff2-524e-4a52-b040-ec4be8ce3267" providerId="ADAL" clId="{38E00974-09F9-457F-84D5-732EC734A80D}" dt="2025-02-19T10:24:27.292" v="12548"/>
          <ac:spMkLst>
            <pc:docMk/>
            <pc:sldMk cId="810525126" sldId="2147483244"/>
            <ac:spMk id="27" creationId="{54369EC3-0D79-3D9C-5D8C-1B12D5AEE379}"/>
          </ac:spMkLst>
        </pc:spChg>
        <pc:spChg chg="add del mod modVis">
          <ac:chgData name="Matsui, Kenta" userId="6ce48ff2-524e-4a52-b040-ec4be8ce3267" providerId="ADAL" clId="{38E00974-09F9-457F-84D5-732EC734A80D}" dt="2025-02-19T10:24:34.198" v="12580"/>
          <ac:spMkLst>
            <pc:docMk/>
            <pc:sldMk cId="810525126" sldId="2147483244"/>
            <ac:spMk id="28" creationId="{24A9CA4F-5E95-7581-8035-763A9524A151}"/>
          </ac:spMkLst>
        </pc:spChg>
        <pc:spChg chg="add del mod modVis">
          <ac:chgData name="Matsui, Kenta" userId="6ce48ff2-524e-4a52-b040-ec4be8ce3267" providerId="ADAL" clId="{38E00974-09F9-457F-84D5-732EC734A80D}" dt="2025-02-19T10:24:36.039" v="12626"/>
          <ac:spMkLst>
            <pc:docMk/>
            <pc:sldMk cId="810525126" sldId="2147483244"/>
            <ac:spMk id="29" creationId="{0E8356A1-0682-02BE-45B7-C1287E0ADBE4}"/>
          </ac:spMkLst>
        </pc:spChg>
        <pc:spChg chg="add del mod modVis">
          <ac:chgData name="Matsui, Kenta" userId="6ce48ff2-524e-4a52-b040-ec4be8ce3267" providerId="ADAL" clId="{38E00974-09F9-457F-84D5-732EC734A80D}" dt="2025-02-19T10:24:52.577" v="12707"/>
          <ac:spMkLst>
            <pc:docMk/>
            <pc:sldMk cId="810525126" sldId="2147483244"/>
            <ac:spMk id="31" creationId="{C84E8A19-57C5-9AD5-59F8-2E4E6A12F008}"/>
          </ac:spMkLst>
        </pc:spChg>
        <pc:spChg chg="add del mod">
          <ac:chgData name="Matsui, Kenta" userId="6ce48ff2-524e-4a52-b040-ec4be8ce3267" providerId="ADAL" clId="{38E00974-09F9-457F-84D5-732EC734A80D}" dt="2025-02-19T11:33:16.724" v="25085" actId="21"/>
          <ac:spMkLst>
            <pc:docMk/>
            <pc:sldMk cId="810525126" sldId="2147483244"/>
            <ac:spMk id="42" creationId="{5613C3B5-ED91-C46B-2448-9B5E4B4FF221}"/>
          </ac:spMkLst>
        </pc:spChg>
        <pc:spChg chg="mod">
          <ac:chgData name="Matsui, Kenta" userId="6ce48ff2-524e-4a52-b040-ec4be8ce3267" providerId="ADAL" clId="{38E00974-09F9-457F-84D5-732EC734A80D}" dt="2025-02-19T10:24:52.548" v="12685" actId="948"/>
          <ac:spMkLst>
            <pc:docMk/>
            <pc:sldMk cId="810525126" sldId="2147483244"/>
            <ac:spMk id="51" creationId="{5829FD86-4A7A-CE0C-7D55-A8410A7EAAB0}"/>
          </ac:spMkLst>
        </pc:spChg>
        <pc:spChg chg="mod">
          <ac:chgData name="Matsui, Kenta" userId="6ce48ff2-524e-4a52-b040-ec4be8ce3267" providerId="ADAL" clId="{38E00974-09F9-457F-84D5-732EC734A80D}" dt="2025-02-19T10:40:03.341" v="15890"/>
          <ac:spMkLst>
            <pc:docMk/>
            <pc:sldMk cId="810525126" sldId="2147483244"/>
            <ac:spMk id="55" creationId="{913135A1-C193-DA57-7E89-1E8AFB318FCC}"/>
          </ac:spMkLst>
        </pc:spChg>
        <pc:spChg chg="mod">
          <ac:chgData name="Matsui, Kenta" userId="6ce48ff2-524e-4a52-b040-ec4be8ce3267" providerId="ADAL" clId="{38E00974-09F9-457F-84D5-732EC734A80D}" dt="2025-02-19T11:31:52.312" v="25069" actId="20577"/>
          <ac:spMkLst>
            <pc:docMk/>
            <pc:sldMk cId="810525126" sldId="2147483244"/>
            <ac:spMk id="56" creationId="{8D97DBDE-7BF3-F5B2-7585-FF99E87449BB}"/>
          </ac:spMkLst>
        </pc:spChg>
        <pc:spChg chg="mod">
          <ac:chgData name="Matsui, Kenta" userId="6ce48ff2-524e-4a52-b040-ec4be8ce3267" providerId="ADAL" clId="{38E00974-09F9-457F-84D5-732EC734A80D}" dt="2025-02-19T10:58:31.430" v="18913" actId="6549"/>
          <ac:spMkLst>
            <pc:docMk/>
            <pc:sldMk cId="810525126" sldId="2147483244"/>
            <ac:spMk id="63" creationId="{356533F0-D9CB-369B-6B2D-9522E21A32D8}"/>
          </ac:spMkLst>
        </pc:spChg>
        <pc:spChg chg="mod">
          <ac:chgData name="Matsui, Kenta" userId="6ce48ff2-524e-4a52-b040-ec4be8ce3267" providerId="ADAL" clId="{38E00974-09F9-457F-84D5-732EC734A80D}" dt="2025-02-19T10:35:46.935" v="15282"/>
          <ac:spMkLst>
            <pc:docMk/>
            <pc:sldMk cId="810525126" sldId="2147483244"/>
            <ac:spMk id="64" creationId="{99613397-B38F-CFE2-9F6B-177479D11384}"/>
          </ac:spMkLst>
        </pc:spChg>
        <pc:spChg chg="mod">
          <ac:chgData name="Matsui, Kenta" userId="6ce48ff2-524e-4a52-b040-ec4be8ce3267" providerId="ADAL" clId="{38E00974-09F9-457F-84D5-732EC734A80D}" dt="2025-02-19T11:00:25.761" v="18980"/>
          <ac:spMkLst>
            <pc:docMk/>
            <pc:sldMk cId="810525126" sldId="2147483244"/>
            <ac:spMk id="65" creationId="{908136A1-33BD-C957-AD3C-AA8D66A89219}"/>
          </ac:spMkLst>
        </pc:spChg>
        <pc:spChg chg="mod">
          <ac:chgData name="Matsui, Kenta" userId="6ce48ff2-524e-4a52-b040-ec4be8ce3267" providerId="ADAL" clId="{38E00974-09F9-457F-84D5-732EC734A80D}" dt="2025-02-19T10:41:56.707" v="15904" actId="20577"/>
          <ac:spMkLst>
            <pc:docMk/>
            <pc:sldMk cId="810525126" sldId="2147483244"/>
            <ac:spMk id="72" creationId="{019650AF-AF4C-11B9-507B-03817E8F2745}"/>
          </ac:spMkLst>
        </pc:spChg>
        <pc:spChg chg="mod">
          <ac:chgData name="Matsui, Kenta" userId="6ce48ff2-524e-4a52-b040-ec4be8ce3267" providerId="ADAL" clId="{38E00974-09F9-457F-84D5-732EC734A80D}" dt="2025-02-19T10:21:08.148" v="11699" actId="1076"/>
          <ac:spMkLst>
            <pc:docMk/>
            <pc:sldMk cId="810525126" sldId="2147483244"/>
            <ac:spMk id="73" creationId="{7E5DE90C-71DA-01CA-7760-6D225C219C4F}"/>
          </ac:spMkLst>
        </pc:spChg>
        <pc:spChg chg="mod">
          <ac:chgData name="Matsui, Kenta" userId="6ce48ff2-524e-4a52-b040-ec4be8ce3267" providerId="ADAL" clId="{38E00974-09F9-457F-84D5-732EC734A80D}" dt="2025-02-19T10:35:34.887" v="15272"/>
          <ac:spMkLst>
            <pc:docMk/>
            <pc:sldMk cId="810525126" sldId="2147483244"/>
            <ac:spMk id="75" creationId="{6CCBEE87-421B-67BC-C795-5522DE38DC9D}"/>
          </ac:spMkLst>
        </pc:spChg>
        <pc:spChg chg="mod">
          <ac:chgData name="Matsui, Kenta" userId="6ce48ff2-524e-4a52-b040-ec4be8ce3267" providerId="ADAL" clId="{38E00974-09F9-457F-84D5-732EC734A80D}" dt="2025-02-19T10:59:20.714" v="18930"/>
          <ac:spMkLst>
            <pc:docMk/>
            <pc:sldMk cId="810525126" sldId="2147483244"/>
            <ac:spMk id="79" creationId="{6E352FAB-89C7-845B-D76C-45AD8DA7299E}"/>
          </ac:spMkLst>
        </pc:spChg>
        <pc:spChg chg="mod">
          <ac:chgData name="Matsui, Kenta" userId="6ce48ff2-524e-4a52-b040-ec4be8ce3267" providerId="ADAL" clId="{38E00974-09F9-457F-84D5-732EC734A80D}" dt="2025-02-19T10:39:14.239" v="15784"/>
          <ac:spMkLst>
            <pc:docMk/>
            <pc:sldMk cId="810525126" sldId="2147483244"/>
            <ac:spMk id="83" creationId="{B77AE293-0739-3CE8-E032-5351736A5881}"/>
          </ac:spMkLst>
        </pc:spChg>
        <pc:graphicFrameChg chg="mod">
          <ac:chgData name="Matsui, Kenta" userId="6ce48ff2-524e-4a52-b040-ec4be8ce3267" providerId="ADAL" clId="{38E00974-09F9-457F-84D5-732EC734A80D}" dt="2025-02-19T10:24:52.578" v="12709"/>
          <ac:graphicFrameMkLst>
            <pc:docMk/>
            <pc:sldMk cId="810525126" sldId="2147483244"/>
            <ac:graphicFrameMk id="7" creationId="{44572925-F094-FFFC-2CC7-0248F6E8C5A9}"/>
          </ac:graphicFrameMkLst>
        </pc:graphicFrameChg>
        <pc:graphicFrameChg chg="mod">
          <ac:chgData name="Matsui, Kenta" userId="6ce48ff2-524e-4a52-b040-ec4be8ce3267" providerId="ADAL" clId="{38E00974-09F9-457F-84D5-732EC734A80D}" dt="2025-02-19T10:42:41.754" v="15911"/>
          <ac:graphicFrameMkLst>
            <pc:docMk/>
            <pc:sldMk cId="810525126" sldId="2147483244"/>
            <ac:graphicFrameMk id="8" creationId="{E869855E-9D4A-857B-A533-D0F9D6578690}"/>
          </ac:graphicFrameMkLst>
        </pc:graphicFrameChg>
        <pc:picChg chg="del">
          <ac:chgData name="Matsui, Kenta" userId="6ce48ff2-524e-4a52-b040-ec4be8ce3267" providerId="ADAL" clId="{38E00974-09F9-457F-84D5-732EC734A80D}" dt="2025-02-19T10:40:43.280" v="15892" actId="21"/>
          <ac:picMkLst>
            <pc:docMk/>
            <pc:sldMk cId="810525126" sldId="2147483244"/>
            <ac:picMk id="9" creationId="{A11CA73F-EB16-282E-4ADC-B38A99724996}"/>
          </ac:picMkLst>
        </pc:picChg>
        <pc:picChg chg="del">
          <ac:chgData name="Matsui, Kenta" userId="6ce48ff2-524e-4a52-b040-ec4be8ce3267" providerId="ADAL" clId="{38E00974-09F9-457F-84D5-732EC734A80D}" dt="2025-02-19T10:40:42.298" v="15891" actId="21"/>
          <ac:picMkLst>
            <pc:docMk/>
            <pc:sldMk cId="810525126" sldId="2147483244"/>
            <ac:picMk id="14" creationId="{9A23D974-2C8E-76C4-30E3-070083C05D66}"/>
          </ac:picMkLst>
        </pc:picChg>
        <pc:picChg chg="del">
          <ac:chgData name="Matsui, Kenta" userId="6ce48ff2-524e-4a52-b040-ec4be8ce3267" providerId="ADAL" clId="{38E00974-09F9-457F-84D5-732EC734A80D}" dt="2025-02-19T10:48:54.772" v="17538" actId="21"/>
          <ac:picMkLst>
            <pc:docMk/>
            <pc:sldMk cId="810525126" sldId="2147483244"/>
            <ac:picMk id="23" creationId="{958BF5FB-AA95-EA43-91CC-6E8D69E6300F}"/>
          </ac:picMkLst>
        </pc:picChg>
        <pc:picChg chg="add mod">
          <ac:chgData name="Matsui, Kenta" userId="6ce48ff2-524e-4a52-b040-ec4be8ce3267" providerId="ADAL" clId="{38E00974-09F9-457F-84D5-732EC734A80D}" dt="2025-02-19T10:47:58.785" v="17537" actId="14100"/>
          <ac:picMkLst>
            <pc:docMk/>
            <pc:sldMk cId="810525126" sldId="2147483244"/>
            <ac:picMk id="33" creationId="{90A80580-7112-4493-1FA1-F9A156511B08}"/>
          </ac:picMkLst>
        </pc:picChg>
        <pc:picChg chg="add del mod">
          <ac:chgData name="Matsui, Kenta" userId="6ce48ff2-524e-4a52-b040-ec4be8ce3267" providerId="ADAL" clId="{38E00974-09F9-457F-84D5-732EC734A80D}" dt="2025-02-19T10:49:40.946" v="17580" actId="21"/>
          <ac:picMkLst>
            <pc:docMk/>
            <pc:sldMk cId="810525126" sldId="2147483244"/>
            <ac:picMk id="35" creationId="{83B356FC-7257-DA03-413B-CEEC950E24E6}"/>
          </ac:picMkLst>
        </pc:picChg>
        <pc:picChg chg="add del mod modCrop">
          <ac:chgData name="Matsui, Kenta" userId="6ce48ff2-524e-4a52-b040-ec4be8ce3267" providerId="ADAL" clId="{38E00974-09F9-457F-84D5-732EC734A80D}" dt="2025-02-19T10:51:42.402" v="17591" actId="21"/>
          <ac:picMkLst>
            <pc:docMk/>
            <pc:sldMk cId="810525126" sldId="2147483244"/>
            <ac:picMk id="38" creationId="{C9C42C7B-4AB0-AE05-BABF-80C3FB00803C}"/>
          </ac:picMkLst>
        </pc:picChg>
        <pc:picChg chg="add del mod">
          <ac:chgData name="Matsui, Kenta" userId="6ce48ff2-524e-4a52-b040-ec4be8ce3267" providerId="ADAL" clId="{38E00974-09F9-457F-84D5-732EC734A80D}" dt="2025-02-19T11:33:19.682" v="25094" actId="21"/>
          <ac:picMkLst>
            <pc:docMk/>
            <pc:sldMk cId="810525126" sldId="2147483244"/>
            <ac:picMk id="40" creationId="{7E6087AD-BABC-2D04-7A37-B13F8590FD98}"/>
          </ac:picMkLst>
        </pc:picChg>
        <pc:picChg chg="add del mod modCrop">
          <ac:chgData name="Matsui, Kenta" userId="6ce48ff2-524e-4a52-b040-ec4be8ce3267" providerId="ADAL" clId="{38E00974-09F9-457F-84D5-732EC734A80D}" dt="2025-02-19T11:33:19.334" v="25093" actId="21"/>
          <ac:picMkLst>
            <pc:docMk/>
            <pc:sldMk cId="810525126" sldId="2147483244"/>
            <ac:picMk id="41" creationId="{B38F5F8A-055D-F7C8-CB94-D8E44490ED95}"/>
          </ac:picMkLst>
        </pc:picChg>
        <pc:picChg chg="add mod">
          <ac:chgData name="Matsui, Kenta" userId="6ce48ff2-524e-4a52-b040-ec4be8ce3267" providerId="ADAL" clId="{38E00974-09F9-457F-84D5-732EC734A80D}" dt="2025-02-19T10:59:57.508" v="18942"/>
          <ac:picMkLst>
            <pc:docMk/>
            <pc:sldMk cId="810525126" sldId="2147483244"/>
            <ac:picMk id="46" creationId="{D308367A-FEEA-C13F-8390-AAF18A5183A1}"/>
          </ac:picMkLst>
        </pc:picChg>
        <pc:picChg chg="add del mod modCrop">
          <ac:chgData name="Matsui, Kenta" userId="6ce48ff2-524e-4a52-b040-ec4be8ce3267" providerId="ADAL" clId="{38E00974-09F9-457F-84D5-732EC734A80D}" dt="2025-02-19T11:33:21.101" v="25096" actId="21"/>
          <ac:picMkLst>
            <pc:docMk/>
            <pc:sldMk cId="810525126" sldId="2147483244"/>
            <ac:picMk id="48" creationId="{1E0C041B-01C6-4919-C8ED-589D74B9173C}"/>
          </ac:picMkLst>
        </pc:picChg>
      </pc:sldChg>
      <pc:sldChg chg="add del">
        <pc:chgData name="Matsui, Kenta" userId="6ce48ff2-524e-4a52-b040-ec4be8ce3267" providerId="ADAL" clId="{38E00974-09F9-457F-84D5-732EC734A80D}" dt="2025-02-17T11:13:43.603" v="11024" actId="47"/>
        <pc:sldMkLst>
          <pc:docMk/>
          <pc:sldMk cId="2848852704" sldId="2147483244"/>
        </pc:sldMkLst>
      </pc:sldChg>
      <pc:sldChg chg="add del">
        <pc:chgData name="Matsui, Kenta" userId="6ce48ff2-524e-4a52-b040-ec4be8ce3267" providerId="ADAL" clId="{38E00974-09F9-457F-84D5-732EC734A80D}" dt="2025-02-17T11:13:43.603" v="11024" actId="47"/>
        <pc:sldMkLst>
          <pc:docMk/>
          <pc:sldMk cId="1052261629" sldId="2147483245"/>
        </pc:sldMkLst>
      </pc:sldChg>
      <pc:sldChg chg="addSp delSp modSp add mod">
        <pc:chgData name="Matsui, Kenta" userId="6ce48ff2-524e-4a52-b040-ec4be8ce3267" providerId="ADAL" clId="{38E00974-09F9-457F-84D5-732EC734A80D}" dt="2025-02-19T11:35:09.515" v="25418" actId="1076"/>
        <pc:sldMkLst>
          <pc:docMk/>
          <pc:sldMk cId="1492074513" sldId="2147483245"/>
        </pc:sldMkLst>
        <pc:spChg chg="mod">
          <ac:chgData name="Matsui, Kenta" userId="6ce48ff2-524e-4a52-b040-ec4be8ce3267" providerId="ADAL" clId="{38E00974-09F9-457F-84D5-732EC734A80D}" dt="2025-02-19T11:34:08.127" v="25274"/>
          <ac:spMkLst>
            <pc:docMk/>
            <pc:sldMk cId="1492074513" sldId="2147483245"/>
            <ac:spMk id="2" creationId="{0D1EC746-3CFA-24F2-BC82-9919E71DB7FA}"/>
          </ac:spMkLst>
        </pc:spChg>
        <pc:spChg chg="mod ord">
          <ac:chgData name="Matsui, Kenta" userId="6ce48ff2-524e-4a52-b040-ec4be8ce3267" providerId="ADAL" clId="{38E00974-09F9-457F-84D5-732EC734A80D}" dt="2025-02-19T11:34:10.547" v="25366"/>
          <ac:spMkLst>
            <pc:docMk/>
            <pc:sldMk cId="1492074513" sldId="2147483245"/>
            <ac:spMk id="4" creationId="{2B55BAC1-A56F-7C1D-8C5B-153E70672CC8}"/>
          </ac:spMkLst>
        </pc:spChg>
        <pc:spChg chg="mod">
          <ac:chgData name="Matsui, Kenta" userId="6ce48ff2-524e-4a52-b040-ec4be8ce3267" providerId="ADAL" clId="{38E00974-09F9-457F-84D5-732EC734A80D}" dt="2025-02-19T11:34:08.127" v="25280"/>
          <ac:spMkLst>
            <pc:docMk/>
            <pc:sldMk cId="1492074513" sldId="2147483245"/>
            <ac:spMk id="10" creationId="{283157D3-2D5E-BBB0-B751-5391C915A822}"/>
          </ac:spMkLst>
        </pc:spChg>
        <pc:spChg chg="add del mod">
          <ac:chgData name="Matsui, Kenta" userId="6ce48ff2-524e-4a52-b040-ec4be8ce3267" providerId="ADAL" clId="{38E00974-09F9-457F-84D5-732EC734A80D}" dt="2025-02-19T11:34:13.300" v="25369" actId="21"/>
          <ac:spMkLst>
            <pc:docMk/>
            <pc:sldMk cId="1492074513" sldId="2147483245"/>
            <ac:spMk id="17" creationId="{8317ABA5-1882-5DEB-7DA6-F9894A10BB06}"/>
          </ac:spMkLst>
        </pc:spChg>
        <pc:spChg chg="add del mod modVis">
          <ac:chgData name="Matsui, Kenta" userId="6ce48ff2-524e-4a52-b040-ec4be8ce3267" providerId="ADAL" clId="{38E00974-09F9-457F-84D5-732EC734A80D}" dt="2025-02-19T11:34:10.547" v="25365" actId="962"/>
          <ac:spMkLst>
            <pc:docMk/>
            <pc:sldMk cId="1492074513" sldId="2147483245"/>
            <ac:spMk id="18" creationId="{E98524FF-271E-780B-B7E0-3FA080F7D4F6}"/>
          </ac:spMkLst>
        </pc:spChg>
        <pc:spChg chg="add mod">
          <ac:chgData name="Matsui, Kenta" userId="6ce48ff2-524e-4a52-b040-ec4be8ce3267" providerId="ADAL" clId="{38E00974-09F9-457F-84D5-732EC734A80D}" dt="2025-02-19T11:35:09.515" v="25418" actId="1076"/>
          <ac:spMkLst>
            <pc:docMk/>
            <pc:sldMk cId="1492074513" sldId="2147483245"/>
            <ac:spMk id="20" creationId="{8317ABA5-1882-5DEB-7DA6-F9894A10BB06}"/>
          </ac:spMkLst>
        </pc:spChg>
        <pc:spChg chg="mod ord">
          <ac:chgData name="Matsui, Kenta" userId="6ce48ff2-524e-4a52-b040-ec4be8ce3267" providerId="ADAL" clId="{38E00974-09F9-457F-84D5-732EC734A80D}" dt="2025-02-19T11:34:59.763" v="25417" actId="1076"/>
          <ac:spMkLst>
            <pc:docMk/>
            <pc:sldMk cId="1492074513" sldId="2147483245"/>
            <ac:spMk id="22" creationId="{01DBBA31-0536-74DC-34E9-2238D281456E}"/>
          </ac:spMkLst>
        </pc:spChg>
        <pc:spChg chg="del mod">
          <ac:chgData name="Matsui, Kenta" userId="6ce48ff2-524e-4a52-b040-ec4be8ce3267" providerId="ADAL" clId="{38E00974-09F9-457F-84D5-732EC734A80D}" dt="2025-02-19T11:33:31.955" v="25101" actId="21"/>
          <ac:spMkLst>
            <pc:docMk/>
            <pc:sldMk cId="1492074513" sldId="2147483245"/>
            <ac:spMk id="25" creationId="{AFE94E17-88BF-EB7B-D17D-03B57C2AA2CF}"/>
          </ac:spMkLst>
        </pc:spChg>
        <pc:spChg chg="mod ord">
          <ac:chgData name="Matsui, Kenta" userId="6ce48ff2-524e-4a52-b040-ec4be8ce3267" providerId="ADAL" clId="{38E00974-09F9-457F-84D5-732EC734A80D}" dt="2025-02-19T11:34:10.547" v="25361"/>
          <ac:spMkLst>
            <pc:docMk/>
            <pc:sldMk cId="1492074513" sldId="2147483245"/>
            <ac:spMk id="36" creationId="{FD85F23D-DA57-A278-594A-B0DAE89E75CD}"/>
          </ac:spMkLst>
        </pc:spChg>
        <pc:spChg chg="mod ord">
          <ac:chgData name="Matsui, Kenta" userId="6ce48ff2-524e-4a52-b040-ec4be8ce3267" providerId="ADAL" clId="{38E00974-09F9-457F-84D5-732EC734A80D}" dt="2025-02-19T11:34:10.547" v="25360"/>
          <ac:spMkLst>
            <pc:docMk/>
            <pc:sldMk cId="1492074513" sldId="2147483245"/>
            <ac:spMk id="43" creationId="{2A355DB4-5617-7E4D-6B51-481776F8A39E}"/>
          </ac:spMkLst>
        </pc:spChg>
        <pc:spChg chg="mod ord">
          <ac:chgData name="Matsui, Kenta" userId="6ce48ff2-524e-4a52-b040-ec4be8ce3267" providerId="ADAL" clId="{38E00974-09F9-457F-84D5-732EC734A80D}" dt="2025-02-19T11:34:10.547" v="25366"/>
          <ac:spMkLst>
            <pc:docMk/>
            <pc:sldMk cId="1492074513" sldId="2147483245"/>
            <ac:spMk id="44" creationId="{EFF870B5-C699-B316-ED92-BBC1B3E08D20}"/>
          </ac:spMkLst>
        </pc:spChg>
        <pc:spChg chg="mod ord">
          <ac:chgData name="Matsui, Kenta" userId="6ce48ff2-524e-4a52-b040-ec4be8ce3267" providerId="ADAL" clId="{38E00974-09F9-457F-84D5-732EC734A80D}" dt="2025-02-19T11:34:10.547" v="25358"/>
          <ac:spMkLst>
            <pc:docMk/>
            <pc:sldMk cId="1492074513" sldId="2147483245"/>
            <ac:spMk id="50" creationId="{87122D50-309D-7F0E-3893-12E5A547AABE}"/>
          </ac:spMkLst>
        </pc:spChg>
        <pc:spChg chg="mod ord">
          <ac:chgData name="Matsui, Kenta" userId="6ce48ff2-524e-4a52-b040-ec4be8ce3267" providerId="ADAL" clId="{38E00974-09F9-457F-84D5-732EC734A80D}" dt="2025-02-19T11:34:10.547" v="25366"/>
          <ac:spMkLst>
            <pc:docMk/>
            <pc:sldMk cId="1492074513" sldId="2147483245"/>
            <ac:spMk id="51" creationId="{56CCE1F0-FEC6-F3E1-3298-64224B7D93EE}"/>
          </ac:spMkLst>
        </pc:spChg>
        <pc:spChg chg="mod ord">
          <ac:chgData name="Matsui, Kenta" userId="6ce48ff2-524e-4a52-b040-ec4be8ce3267" providerId="ADAL" clId="{38E00974-09F9-457F-84D5-732EC734A80D}" dt="2025-02-19T11:34:10.547" v="25366"/>
          <ac:spMkLst>
            <pc:docMk/>
            <pc:sldMk cId="1492074513" sldId="2147483245"/>
            <ac:spMk id="55" creationId="{A279CCD9-7B7E-7674-0A11-085C9BFEDFF4}"/>
          </ac:spMkLst>
        </pc:spChg>
        <pc:spChg chg="mod ord">
          <ac:chgData name="Matsui, Kenta" userId="6ce48ff2-524e-4a52-b040-ec4be8ce3267" providerId="ADAL" clId="{38E00974-09F9-457F-84D5-732EC734A80D}" dt="2025-02-19T11:34:10.547" v="25366"/>
          <ac:spMkLst>
            <pc:docMk/>
            <pc:sldMk cId="1492074513" sldId="2147483245"/>
            <ac:spMk id="56" creationId="{948BD608-C02C-0C34-5D91-5001163CA069}"/>
          </ac:spMkLst>
        </pc:spChg>
        <pc:spChg chg="mod ord">
          <ac:chgData name="Matsui, Kenta" userId="6ce48ff2-524e-4a52-b040-ec4be8ce3267" providerId="ADAL" clId="{38E00974-09F9-457F-84D5-732EC734A80D}" dt="2025-02-19T11:34:10.547" v="25366"/>
          <ac:spMkLst>
            <pc:docMk/>
            <pc:sldMk cId="1492074513" sldId="2147483245"/>
            <ac:spMk id="63" creationId="{A2B0AFFA-1B4D-A604-4507-169F35BCE8F8}"/>
          </ac:spMkLst>
        </pc:spChg>
        <pc:spChg chg="mod ord">
          <ac:chgData name="Matsui, Kenta" userId="6ce48ff2-524e-4a52-b040-ec4be8ce3267" providerId="ADAL" clId="{38E00974-09F9-457F-84D5-732EC734A80D}" dt="2025-02-19T11:34:10.547" v="25351"/>
          <ac:spMkLst>
            <pc:docMk/>
            <pc:sldMk cId="1492074513" sldId="2147483245"/>
            <ac:spMk id="64" creationId="{DB89045D-CC34-ADBB-4062-4561597D6543}"/>
          </ac:spMkLst>
        </pc:spChg>
        <pc:spChg chg="mod ord">
          <ac:chgData name="Matsui, Kenta" userId="6ce48ff2-524e-4a52-b040-ec4be8ce3267" providerId="ADAL" clId="{38E00974-09F9-457F-84D5-732EC734A80D}" dt="2025-02-19T11:34:10.547" v="25366"/>
          <ac:spMkLst>
            <pc:docMk/>
            <pc:sldMk cId="1492074513" sldId="2147483245"/>
            <ac:spMk id="65" creationId="{43542C8A-700A-DEF6-52AF-AEADF32750E9}"/>
          </ac:spMkLst>
        </pc:spChg>
        <pc:spChg chg="mod ord">
          <ac:chgData name="Matsui, Kenta" userId="6ce48ff2-524e-4a52-b040-ec4be8ce3267" providerId="ADAL" clId="{38E00974-09F9-457F-84D5-732EC734A80D}" dt="2025-02-19T11:34:10.547" v="25349"/>
          <ac:spMkLst>
            <pc:docMk/>
            <pc:sldMk cId="1492074513" sldId="2147483245"/>
            <ac:spMk id="66" creationId="{50681217-61B7-63FE-4979-6E3AB0B103C5}"/>
          </ac:spMkLst>
        </pc:spChg>
        <pc:spChg chg="mod ord">
          <ac:chgData name="Matsui, Kenta" userId="6ce48ff2-524e-4a52-b040-ec4be8ce3267" providerId="ADAL" clId="{38E00974-09F9-457F-84D5-732EC734A80D}" dt="2025-02-19T11:34:10.547" v="25348"/>
          <ac:spMkLst>
            <pc:docMk/>
            <pc:sldMk cId="1492074513" sldId="2147483245"/>
            <ac:spMk id="69" creationId="{B3E39D25-BD95-0FC3-718E-0ED45E20E728}"/>
          </ac:spMkLst>
        </pc:spChg>
        <pc:spChg chg="mod ord">
          <ac:chgData name="Matsui, Kenta" userId="6ce48ff2-524e-4a52-b040-ec4be8ce3267" providerId="ADAL" clId="{38E00974-09F9-457F-84D5-732EC734A80D}" dt="2025-02-19T11:34:10.547" v="25366"/>
          <ac:spMkLst>
            <pc:docMk/>
            <pc:sldMk cId="1492074513" sldId="2147483245"/>
            <ac:spMk id="72" creationId="{64E56D42-1DDE-2CE5-D827-E3148F9AE852}"/>
          </ac:spMkLst>
        </pc:spChg>
        <pc:spChg chg="mod ord">
          <ac:chgData name="Matsui, Kenta" userId="6ce48ff2-524e-4a52-b040-ec4be8ce3267" providerId="ADAL" clId="{38E00974-09F9-457F-84D5-732EC734A80D}" dt="2025-02-19T11:34:10.547" v="25346"/>
          <ac:spMkLst>
            <pc:docMk/>
            <pc:sldMk cId="1492074513" sldId="2147483245"/>
            <ac:spMk id="73" creationId="{AB4310B8-CB6F-03CF-2110-7094589CC112}"/>
          </ac:spMkLst>
        </pc:spChg>
        <pc:spChg chg="mod ord">
          <ac:chgData name="Matsui, Kenta" userId="6ce48ff2-524e-4a52-b040-ec4be8ce3267" providerId="ADAL" clId="{38E00974-09F9-457F-84D5-732EC734A80D}" dt="2025-02-19T11:34:10.547" v="25345"/>
          <ac:spMkLst>
            <pc:docMk/>
            <pc:sldMk cId="1492074513" sldId="2147483245"/>
            <ac:spMk id="75" creationId="{ADE724E1-9FD3-D424-600B-508BD98DA186}"/>
          </ac:spMkLst>
        </pc:spChg>
        <pc:spChg chg="mod ord">
          <ac:chgData name="Matsui, Kenta" userId="6ce48ff2-524e-4a52-b040-ec4be8ce3267" providerId="ADAL" clId="{38E00974-09F9-457F-84D5-732EC734A80D}" dt="2025-02-19T11:34:10.547" v="25344"/>
          <ac:spMkLst>
            <pc:docMk/>
            <pc:sldMk cId="1492074513" sldId="2147483245"/>
            <ac:spMk id="77" creationId="{4507D09A-8098-4646-54F8-5ADE9C24650B}"/>
          </ac:spMkLst>
        </pc:spChg>
        <pc:spChg chg="mod ord">
          <ac:chgData name="Matsui, Kenta" userId="6ce48ff2-524e-4a52-b040-ec4be8ce3267" providerId="ADAL" clId="{38E00974-09F9-457F-84D5-732EC734A80D}" dt="2025-02-19T11:34:10.547" v="25366"/>
          <ac:spMkLst>
            <pc:docMk/>
            <pc:sldMk cId="1492074513" sldId="2147483245"/>
            <ac:spMk id="79" creationId="{AA084D73-202C-164E-0F94-F3B5DF643C60}"/>
          </ac:spMkLst>
        </pc:spChg>
        <pc:spChg chg="mod ord">
          <ac:chgData name="Matsui, Kenta" userId="6ce48ff2-524e-4a52-b040-ec4be8ce3267" providerId="ADAL" clId="{38E00974-09F9-457F-84D5-732EC734A80D}" dt="2025-02-19T11:34:10.547" v="25340"/>
          <ac:spMkLst>
            <pc:docMk/>
            <pc:sldMk cId="1492074513" sldId="2147483245"/>
            <ac:spMk id="83" creationId="{9867624F-ECCC-B28E-ABC9-9A1C357E9D03}"/>
          </ac:spMkLst>
        </pc:spChg>
        <pc:spChg chg="mod ord">
          <ac:chgData name="Matsui, Kenta" userId="6ce48ff2-524e-4a52-b040-ec4be8ce3267" providerId="ADAL" clId="{38E00974-09F9-457F-84D5-732EC734A80D}" dt="2025-02-19T11:34:10.547" v="25339"/>
          <ac:spMkLst>
            <pc:docMk/>
            <pc:sldMk cId="1492074513" sldId="2147483245"/>
            <ac:spMk id="85" creationId="{9DEB0124-1B33-3C62-CDBD-1C0E39067879}"/>
          </ac:spMkLst>
        </pc:spChg>
        <pc:spChg chg="mod ord">
          <ac:chgData name="Matsui, Kenta" userId="6ce48ff2-524e-4a52-b040-ec4be8ce3267" providerId="ADAL" clId="{38E00974-09F9-457F-84D5-732EC734A80D}" dt="2025-02-19T11:34:10.547" v="25338"/>
          <ac:spMkLst>
            <pc:docMk/>
            <pc:sldMk cId="1492074513" sldId="2147483245"/>
            <ac:spMk id="86" creationId="{03C1822E-843F-F8D8-FF36-AF95DDB5BF82}"/>
          </ac:spMkLst>
        </pc:spChg>
        <pc:spChg chg="mod ord">
          <ac:chgData name="Matsui, Kenta" userId="6ce48ff2-524e-4a52-b040-ec4be8ce3267" providerId="ADAL" clId="{38E00974-09F9-457F-84D5-732EC734A80D}" dt="2025-02-19T11:34:10.547" v="25366"/>
          <ac:spMkLst>
            <pc:docMk/>
            <pc:sldMk cId="1492074513" sldId="2147483245"/>
            <ac:spMk id="87" creationId="{283B1BC5-DE64-CB90-47DC-DC817C8EB586}"/>
          </ac:spMkLst>
        </pc:spChg>
        <pc:spChg chg="mod ord">
          <ac:chgData name="Matsui, Kenta" userId="6ce48ff2-524e-4a52-b040-ec4be8ce3267" providerId="ADAL" clId="{38E00974-09F9-457F-84D5-732EC734A80D}" dt="2025-02-19T11:34:10.547" v="25336"/>
          <ac:spMkLst>
            <pc:docMk/>
            <pc:sldMk cId="1492074513" sldId="2147483245"/>
            <ac:spMk id="88" creationId="{80610EC0-A4B1-1C1B-832A-3E3A4FB7AC6A}"/>
          </ac:spMkLst>
        </pc:spChg>
        <pc:graphicFrameChg chg="mod">
          <ac:chgData name="Matsui, Kenta" userId="6ce48ff2-524e-4a52-b040-ec4be8ce3267" providerId="ADAL" clId="{38E00974-09F9-457F-84D5-732EC734A80D}" dt="2025-02-19T11:34:10.591" v="25368"/>
          <ac:graphicFrameMkLst>
            <pc:docMk/>
            <pc:sldMk cId="1492074513" sldId="2147483245"/>
            <ac:graphicFrameMk id="7" creationId="{2F534DA8-4443-9BCC-0A9A-B1256BC1E877}"/>
          </ac:graphicFrameMkLst>
        </pc:graphicFrameChg>
        <pc:graphicFrameChg chg="mod">
          <ac:chgData name="Matsui, Kenta" userId="6ce48ff2-524e-4a52-b040-ec4be8ce3267" providerId="ADAL" clId="{38E00974-09F9-457F-84D5-732EC734A80D}" dt="2025-02-19T11:34:08.127" v="25279"/>
          <ac:graphicFrameMkLst>
            <pc:docMk/>
            <pc:sldMk cId="1492074513" sldId="2147483245"/>
            <ac:graphicFrameMk id="8" creationId="{1C074F65-E8B5-33B6-A653-B05B371304FA}"/>
          </ac:graphicFrameMkLst>
        </pc:graphicFrameChg>
        <pc:picChg chg="mod ord">
          <ac:chgData name="Matsui, Kenta" userId="6ce48ff2-524e-4a52-b040-ec4be8ce3267" providerId="ADAL" clId="{38E00974-09F9-457F-84D5-732EC734A80D}" dt="2025-02-19T11:34:10.547" v="25335"/>
          <ac:picMkLst>
            <pc:docMk/>
            <pc:sldMk cId="1492074513" sldId="2147483245"/>
            <ac:picMk id="3" creationId="{70C2B949-40D5-92D1-63C7-3981F64B526F}"/>
          </ac:picMkLst>
        </pc:picChg>
        <pc:picChg chg="mod ord">
          <ac:chgData name="Matsui, Kenta" userId="6ce48ff2-524e-4a52-b040-ec4be8ce3267" providerId="ADAL" clId="{38E00974-09F9-457F-84D5-732EC734A80D}" dt="2025-02-19T11:34:10.547" v="25362"/>
          <ac:picMkLst>
            <pc:docMk/>
            <pc:sldMk cId="1492074513" sldId="2147483245"/>
            <ac:picMk id="5" creationId="{64293E8F-E2DC-9A32-A86F-DCB8DE4903C6}"/>
          </ac:picMkLst>
        </pc:picChg>
        <pc:picChg chg="mod ord">
          <ac:chgData name="Matsui, Kenta" userId="6ce48ff2-524e-4a52-b040-ec4be8ce3267" providerId="ADAL" clId="{38E00974-09F9-457F-84D5-732EC734A80D}" dt="2025-02-19T11:34:10.547" v="25363"/>
          <ac:picMkLst>
            <pc:docMk/>
            <pc:sldMk cId="1492074513" sldId="2147483245"/>
            <ac:picMk id="6" creationId="{91F6ECFC-FDB6-9188-DAE8-E2D9F4BF547F}"/>
          </ac:picMkLst>
        </pc:picChg>
        <pc:picChg chg="add del">
          <ac:chgData name="Matsui, Kenta" userId="6ce48ff2-524e-4a52-b040-ec4be8ce3267" providerId="ADAL" clId="{38E00974-09F9-457F-84D5-732EC734A80D}" dt="2025-02-19T11:04:47.239" v="19449" actId="21"/>
          <ac:picMkLst>
            <pc:docMk/>
            <pc:sldMk cId="1492074513" sldId="2147483245"/>
            <ac:picMk id="9" creationId="{7711764E-41C9-D41F-EE5E-EE8B42B17B63}"/>
          </ac:picMkLst>
        </pc:picChg>
        <pc:picChg chg="add del mod ord">
          <ac:chgData name="Matsui, Kenta" userId="6ce48ff2-524e-4a52-b040-ec4be8ce3267" providerId="ADAL" clId="{38E00974-09F9-457F-84D5-732EC734A80D}" dt="2025-02-19T11:34:10.547" v="25332"/>
          <ac:picMkLst>
            <pc:docMk/>
            <pc:sldMk cId="1492074513" sldId="2147483245"/>
            <ac:picMk id="12" creationId="{B3D5471C-F39F-A011-4F8A-49EE1347C745}"/>
          </ac:picMkLst>
        </pc:picChg>
        <pc:picChg chg="add del mod">
          <ac:chgData name="Matsui, Kenta" userId="6ce48ff2-524e-4a52-b040-ec4be8ce3267" providerId="ADAL" clId="{38E00974-09F9-457F-84D5-732EC734A80D}" dt="2025-02-19T11:04:45.309" v="19446" actId="21"/>
          <ac:picMkLst>
            <pc:docMk/>
            <pc:sldMk cId="1492074513" sldId="2147483245"/>
            <ac:picMk id="14" creationId="{33030C44-4941-ED36-5BBC-4294EEA8CA87}"/>
          </ac:picMkLst>
        </pc:picChg>
        <pc:picChg chg="add mod">
          <ac:chgData name="Matsui, Kenta" userId="6ce48ff2-524e-4a52-b040-ec4be8ce3267" providerId="ADAL" clId="{38E00974-09F9-457F-84D5-732EC734A80D}" dt="2025-02-19T11:34:08.127" v="25284"/>
          <ac:picMkLst>
            <pc:docMk/>
            <pc:sldMk cId="1492074513" sldId="2147483245"/>
            <ac:picMk id="15" creationId="{35264F48-406B-4005-E40A-1F6DB86B7681}"/>
          </ac:picMkLst>
        </pc:picChg>
        <pc:picChg chg="add del mod ord modCrop">
          <ac:chgData name="Matsui, Kenta" userId="6ce48ff2-524e-4a52-b040-ec4be8ce3267" providerId="ADAL" clId="{38E00974-09F9-457F-84D5-732EC734A80D}" dt="2025-02-19T11:35:09.515" v="25418" actId="1076"/>
          <ac:picMkLst>
            <pc:docMk/>
            <pc:sldMk cId="1492074513" sldId="2147483245"/>
            <ac:picMk id="16" creationId="{2B5C07E7-2A5B-CFEA-3C8C-9E23C9A51AE4}"/>
          </ac:picMkLst>
        </pc:picChg>
        <pc:picChg chg="add mod">
          <ac:chgData name="Matsui, Kenta" userId="6ce48ff2-524e-4a52-b040-ec4be8ce3267" providerId="ADAL" clId="{38E00974-09F9-457F-84D5-732EC734A80D}" dt="2025-02-19T11:35:09.515" v="25418" actId="1076"/>
          <ac:picMkLst>
            <pc:docMk/>
            <pc:sldMk cId="1492074513" sldId="2147483245"/>
            <ac:picMk id="19" creationId="{1E0C041B-01C6-4919-C8ED-589D74B9173C}"/>
          </ac:picMkLst>
        </pc:picChg>
        <pc:picChg chg="del">
          <ac:chgData name="Matsui, Kenta" userId="6ce48ff2-524e-4a52-b040-ec4be8ce3267" providerId="ADAL" clId="{38E00974-09F9-457F-84D5-732EC734A80D}" dt="2025-02-19T11:33:31.955" v="25101" actId="21"/>
          <ac:picMkLst>
            <pc:docMk/>
            <pc:sldMk cId="1492074513" sldId="2147483245"/>
            <ac:picMk id="23" creationId="{5C532B32-AD9F-BC34-B116-985127A71830}"/>
          </ac:picMkLst>
        </pc:picChg>
        <pc:picChg chg="mod">
          <ac:chgData name="Matsui, Kenta" userId="6ce48ff2-524e-4a52-b040-ec4be8ce3267" providerId="ADAL" clId="{38E00974-09F9-457F-84D5-732EC734A80D}" dt="2025-02-19T11:34:08.127" v="25281"/>
          <ac:picMkLst>
            <pc:docMk/>
            <pc:sldMk cId="1492074513" sldId="2147483245"/>
            <ac:picMk id="30" creationId="{3FB4F5E3-4531-F0C1-A070-72E81A92155C}"/>
          </ac:picMkLst>
        </pc:picChg>
        <pc:picChg chg="add del mod ord modCrop">
          <ac:chgData name="Matsui, Kenta" userId="6ce48ff2-524e-4a52-b040-ec4be8ce3267" providerId="ADAL" clId="{38E00974-09F9-457F-84D5-732EC734A80D}" dt="2025-02-19T11:34:13.300" v="25369" actId="21"/>
          <ac:picMkLst>
            <pc:docMk/>
            <pc:sldMk cId="1492074513" sldId="2147483245"/>
            <ac:picMk id="48" creationId="{1E0C041B-01C6-4919-C8ED-589D74B9173C}"/>
          </ac:picMkLst>
        </pc:picChg>
        <pc:picChg chg="mod ord">
          <ac:chgData name="Matsui, Kenta" userId="6ce48ff2-524e-4a52-b040-ec4be8ce3267" providerId="ADAL" clId="{38E00974-09F9-457F-84D5-732EC734A80D}" dt="2025-02-19T11:34:10.547" v="25357"/>
          <ac:picMkLst>
            <pc:docMk/>
            <pc:sldMk cId="1492074513" sldId="2147483245"/>
            <ac:picMk id="49" creationId="{A161289F-3274-665A-39D2-B9DE86EBAE6C}"/>
          </ac:picMkLst>
        </pc:picChg>
        <pc:picChg chg="mod ord">
          <ac:chgData name="Matsui, Kenta" userId="6ce48ff2-524e-4a52-b040-ec4be8ce3267" providerId="ADAL" clId="{38E00974-09F9-457F-84D5-732EC734A80D}" dt="2025-02-19T11:34:10.547" v="25353"/>
          <ac:picMkLst>
            <pc:docMk/>
            <pc:sldMk cId="1492074513" sldId="2147483245"/>
            <ac:picMk id="58" creationId="{2DBD133E-46C4-8DC1-0C06-F073A2D40B35}"/>
          </ac:picMkLst>
        </pc:picChg>
        <pc:cxnChg chg="mod ord">
          <ac:chgData name="Matsui, Kenta" userId="6ce48ff2-524e-4a52-b040-ec4be8ce3267" providerId="ADAL" clId="{38E00974-09F9-457F-84D5-732EC734A80D}" dt="2025-02-19T11:34:10.547" v="25342"/>
          <ac:cxnSpMkLst>
            <pc:docMk/>
            <pc:sldMk cId="1492074513" sldId="2147483245"/>
            <ac:cxnSpMk id="81" creationId="{DB5D2954-9841-CD4C-C818-5099A1DDC5C7}"/>
          </ac:cxnSpMkLst>
        </pc:cxnChg>
        <pc:cxnChg chg="mod ord">
          <ac:chgData name="Matsui, Kenta" userId="6ce48ff2-524e-4a52-b040-ec4be8ce3267" providerId="ADAL" clId="{38E00974-09F9-457F-84D5-732EC734A80D}" dt="2025-02-19T11:34:10.547" v="25341"/>
          <ac:cxnSpMkLst>
            <pc:docMk/>
            <pc:sldMk cId="1492074513" sldId="2147483245"/>
            <ac:cxnSpMk id="82" creationId="{DE20F8FD-6505-CD80-AB1C-098D72666277}"/>
          </ac:cxnSpMkLst>
        </pc:cxnChg>
      </pc:sldChg>
      <pc:sldChg chg="add">
        <pc:chgData name="Matsui, Kenta" userId="6ce48ff2-524e-4a52-b040-ec4be8ce3267" providerId="ADAL" clId="{38E00974-09F9-457F-84D5-732EC734A80D}" dt="2025-02-19T11:35:28.192" v="25448"/>
        <pc:sldMkLst>
          <pc:docMk/>
          <pc:sldMk cId="2564952147" sldId="2147483246"/>
        </pc:sldMkLst>
      </pc:sldChg>
      <pc:sldChg chg="add">
        <pc:chgData name="Matsui, Kenta" userId="6ce48ff2-524e-4a52-b040-ec4be8ce3267" providerId="ADAL" clId="{38E00974-09F9-457F-84D5-732EC734A80D}" dt="2025-02-19T11:35:28.192" v="25448"/>
        <pc:sldMkLst>
          <pc:docMk/>
          <pc:sldMk cId="2357969499" sldId="2147483247"/>
        </pc:sldMkLst>
      </pc:sldChg>
      <pc:sldChg chg="add">
        <pc:chgData name="Matsui, Kenta" userId="6ce48ff2-524e-4a52-b040-ec4be8ce3267" providerId="ADAL" clId="{38E00974-09F9-457F-84D5-732EC734A80D}" dt="2025-02-19T11:35:28.192" v="25448"/>
        <pc:sldMkLst>
          <pc:docMk/>
          <pc:sldMk cId="620643295" sldId="2147483248"/>
        </pc:sldMkLst>
      </pc:sldChg>
      <pc:sldMasterChg chg="addSp delSp modSp mod delSldLayout">
        <pc:chgData name="Matsui, Kenta" userId="6ce48ff2-524e-4a52-b040-ec4be8ce3267" providerId="ADAL" clId="{38E00974-09F9-457F-84D5-732EC734A80D}" dt="2025-02-14T06:44:53.174" v="153" actId="2696"/>
        <pc:sldMasterMkLst>
          <pc:docMk/>
          <pc:sldMasterMk cId="2712574064" sldId="2147483648"/>
        </pc:sldMasterMkLst>
        <pc:spChg chg="mod">
          <ac:chgData name="Matsui, Kenta" userId="6ce48ff2-524e-4a52-b040-ec4be8ce3267" providerId="ADAL" clId="{38E00974-09F9-457F-84D5-732EC734A80D}" dt="2025-02-14T06:42:54.968" v="9" actId="948"/>
          <ac:spMkLst>
            <pc:docMk/>
            <pc:sldMasterMk cId="2712574064" sldId="2147483648"/>
            <ac:spMk id="2" creationId="{00000000-0000-0000-0000-000000000000}"/>
          </ac:spMkLst>
        </pc:spChg>
        <pc:graphicFrameChg chg="add mod ord modVis">
          <ac:chgData name="Matsui, Kenta" userId="6ce48ff2-524e-4a52-b040-ec4be8ce3267" providerId="ADAL" clId="{38E00974-09F9-457F-84D5-732EC734A80D}" dt="2025-02-14T06:42:55.104" v="46"/>
          <ac:graphicFrameMkLst>
            <pc:docMk/>
            <pc:sldMasterMk cId="2712574064" sldId="2147483648"/>
            <ac:graphicFrameMk id="5" creationId="{3513E546-A282-441F-CEB2-9E6C0AC4E34C}"/>
          </ac:graphicFrameMkLst>
        </pc:graphicFrameChg>
        <pc:sldLayoutChg chg="del">
          <pc:chgData name="Matsui, Kenta" userId="6ce48ff2-524e-4a52-b040-ec4be8ce3267" providerId="ADAL" clId="{38E00974-09F9-457F-84D5-732EC734A80D}" dt="2025-02-14T06:44:53.174" v="153" actId="2696"/>
          <pc:sldLayoutMkLst>
            <pc:docMk/>
            <pc:sldMasterMk cId="2712574064" sldId="2147483648"/>
            <pc:sldLayoutMk cId="3695401007" sldId="2147483700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ja-JP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ea"/>
                <a:ea typeface="+mj-ea"/>
                <a:cs typeface="+mn-cs"/>
              </a:defRPr>
            </a:pPr>
            <a:r>
              <a:rPr lang="ja-JP" dirty="0"/>
              <a:t>売上高</a:t>
            </a:r>
          </a:p>
        </c:rich>
      </c:tx>
      <c:layout>
        <c:manualLayout>
          <c:xMode val="edge"/>
          <c:yMode val="edge"/>
          <c:x val="0.43273235969233109"/>
          <c:y val="4.5977028139027295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j-ea"/>
              <a:ea typeface="+mj-ea"/>
              <a:cs typeface="+mn-cs"/>
            </a:defRPr>
          </a:pPr>
          <a:endParaRPr lang="ja-JP"/>
        </a:p>
      </c:txPr>
    </c:title>
    <c:autoTitleDeleted val="0"/>
    <c:plotArea>
      <c:layout>
        <c:manualLayout>
          <c:layoutTarget val="inner"/>
          <c:xMode val="edge"/>
          <c:yMode val="edge"/>
          <c:x val="5.035131185053323E-2"/>
          <c:y val="0.17035321580349924"/>
          <c:w val="0.92077734661495847"/>
          <c:h val="0.5791201300100027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事業１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j-ea"/>
                    <a:ea typeface="+mj-ea"/>
                    <a:cs typeface="+mn-cs"/>
                  </a:defRPr>
                </a:pPr>
                <a:endParaRPr lang="ja-JP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2</c:f>
              <c:numCache>
                <c:formatCode>0_);[Red]\(0\)</c:formatCode>
                <c:ptCount val="11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  <c:pt idx="3">
                  <c:v>2027</c:v>
                </c:pt>
                <c:pt idx="4">
                  <c:v>2028</c:v>
                </c:pt>
                <c:pt idx="5">
                  <c:v>2029</c:v>
                </c:pt>
                <c:pt idx="6">
                  <c:v>2030</c:v>
                </c:pt>
                <c:pt idx="7">
                  <c:v>2031</c:v>
                </c:pt>
                <c:pt idx="8">
                  <c:v>2032</c:v>
                </c:pt>
                <c:pt idx="9">
                  <c:v>2033</c:v>
                </c:pt>
                <c:pt idx="10">
                  <c:v>2034</c:v>
                </c:pt>
              </c:numCache>
            </c:numRef>
          </c:cat>
          <c:val>
            <c:numRef>
              <c:f>Sheet1!$B$2:$B$12</c:f>
              <c:numCache>
                <c:formatCode>0</c:formatCode>
                <c:ptCount val="11"/>
                <c:pt idx="0">
                  <c:v>40</c:v>
                </c:pt>
                <c:pt idx="1">
                  <c:v>42.400000000000006</c:v>
                </c:pt>
                <c:pt idx="2">
                  <c:v>44.94400000000001</c:v>
                </c:pt>
                <c:pt idx="3">
                  <c:v>47.640640000000012</c:v>
                </c:pt>
                <c:pt idx="4">
                  <c:v>50.499078400000016</c:v>
                </c:pt>
                <c:pt idx="5">
                  <c:v>53.529023104000018</c:v>
                </c:pt>
                <c:pt idx="6">
                  <c:v>56.740764490240025</c:v>
                </c:pt>
                <c:pt idx="7">
                  <c:v>60.145210359654428</c:v>
                </c:pt>
                <c:pt idx="8">
                  <c:v>63.7539229812337</c:v>
                </c:pt>
                <c:pt idx="9">
                  <c:v>67.579158360107726</c:v>
                </c:pt>
                <c:pt idx="10">
                  <c:v>71.6339078617141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782-4078-82B1-C33E117562C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事業２</c:v>
                </c:pt>
              </c:strCache>
            </c:strRef>
          </c:tx>
          <c:spPr>
            <a:solidFill>
              <a:schemeClr val="bg1">
                <a:lumMod val="9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j-ea"/>
                    <a:ea typeface="+mj-ea"/>
                    <a:cs typeface="+mn-cs"/>
                  </a:defRPr>
                </a:pPr>
                <a:endParaRPr lang="ja-JP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2</c:f>
              <c:numCache>
                <c:formatCode>0_);[Red]\(0\)</c:formatCode>
                <c:ptCount val="11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  <c:pt idx="3">
                  <c:v>2027</c:v>
                </c:pt>
                <c:pt idx="4">
                  <c:v>2028</c:v>
                </c:pt>
                <c:pt idx="5">
                  <c:v>2029</c:v>
                </c:pt>
                <c:pt idx="6">
                  <c:v>2030</c:v>
                </c:pt>
                <c:pt idx="7">
                  <c:v>2031</c:v>
                </c:pt>
                <c:pt idx="8">
                  <c:v>2032</c:v>
                </c:pt>
                <c:pt idx="9">
                  <c:v>2033</c:v>
                </c:pt>
                <c:pt idx="10">
                  <c:v>2034</c:v>
                </c:pt>
              </c:numCache>
            </c:numRef>
          </c:cat>
          <c:val>
            <c:numRef>
              <c:f>Sheet1!$C$2:$C$12</c:f>
              <c:numCache>
                <c:formatCode>0</c:formatCode>
                <c:ptCount val="11"/>
                <c:pt idx="0">
                  <c:v>10</c:v>
                </c:pt>
                <c:pt idx="1">
                  <c:v>12</c:v>
                </c:pt>
                <c:pt idx="2">
                  <c:v>14.399999999999999</c:v>
                </c:pt>
                <c:pt idx="3">
                  <c:v>17.279999999999998</c:v>
                </c:pt>
                <c:pt idx="4">
                  <c:v>20.735999999999997</c:v>
                </c:pt>
                <c:pt idx="5">
                  <c:v>24.883199999999995</c:v>
                </c:pt>
                <c:pt idx="6">
                  <c:v>29.859839999999991</c:v>
                </c:pt>
                <c:pt idx="7">
                  <c:v>35.831807999999988</c:v>
                </c:pt>
                <c:pt idx="8">
                  <c:v>42.998169599999983</c:v>
                </c:pt>
                <c:pt idx="9">
                  <c:v>51.597803519999978</c:v>
                </c:pt>
                <c:pt idx="10">
                  <c:v>61.9173642239999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782-4078-82B1-C33E117562C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事業3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j-ea"/>
                    <a:ea typeface="+mj-ea"/>
                    <a:cs typeface="+mn-cs"/>
                  </a:defRPr>
                </a:pPr>
                <a:endParaRPr lang="ja-JP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2</c:f>
              <c:numCache>
                <c:formatCode>0_);[Red]\(0\)</c:formatCode>
                <c:ptCount val="11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  <c:pt idx="3">
                  <c:v>2027</c:v>
                </c:pt>
                <c:pt idx="4">
                  <c:v>2028</c:v>
                </c:pt>
                <c:pt idx="5">
                  <c:v>2029</c:v>
                </c:pt>
                <c:pt idx="6">
                  <c:v>2030</c:v>
                </c:pt>
                <c:pt idx="7">
                  <c:v>2031</c:v>
                </c:pt>
                <c:pt idx="8">
                  <c:v>2032</c:v>
                </c:pt>
                <c:pt idx="9">
                  <c:v>2033</c:v>
                </c:pt>
                <c:pt idx="10">
                  <c:v>2034</c:v>
                </c:pt>
              </c:numCache>
            </c:numRef>
          </c:cat>
          <c:val>
            <c:numRef>
              <c:f>Sheet1!$D$2:$D$12</c:f>
              <c:numCache>
                <c:formatCode>0</c:formatCode>
                <c:ptCount val="11"/>
                <c:pt idx="0">
                  <c:v>10</c:v>
                </c:pt>
                <c:pt idx="1">
                  <c:v>10.5</c:v>
                </c:pt>
                <c:pt idx="2">
                  <c:v>11.025</c:v>
                </c:pt>
                <c:pt idx="3">
                  <c:v>11.576250000000002</c:v>
                </c:pt>
                <c:pt idx="4">
                  <c:v>12.155062500000001</c:v>
                </c:pt>
                <c:pt idx="5">
                  <c:v>12.762815625000002</c:v>
                </c:pt>
                <c:pt idx="6">
                  <c:v>13.400956406250003</c:v>
                </c:pt>
                <c:pt idx="7">
                  <c:v>14.071004226562504</c:v>
                </c:pt>
                <c:pt idx="8">
                  <c:v>14.774554437890631</c:v>
                </c:pt>
                <c:pt idx="9">
                  <c:v>15.513282159785163</c:v>
                </c:pt>
                <c:pt idx="10">
                  <c:v>16.2889462677744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782-4078-82B1-C33E117562C9}"/>
            </c:ext>
          </c:extLst>
        </c:ser>
        <c:ser>
          <c:idx val="3"/>
          <c:order val="3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2:$A$12</c:f>
              <c:numCache>
                <c:formatCode>0_);[Red]\(0\)</c:formatCode>
                <c:ptCount val="11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  <c:pt idx="3">
                  <c:v>2027</c:v>
                </c:pt>
                <c:pt idx="4">
                  <c:v>2028</c:v>
                </c:pt>
                <c:pt idx="5">
                  <c:v>2029</c:v>
                </c:pt>
                <c:pt idx="6">
                  <c:v>2030</c:v>
                </c:pt>
                <c:pt idx="7">
                  <c:v>2031</c:v>
                </c:pt>
                <c:pt idx="8">
                  <c:v>2032</c:v>
                </c:pt>
                <c:pt idx="9">
                  <c:v>2033</c:v>
                </c:pt>
                <c:pt idx="10">
                  <c:v>2034</c:v>
                </c:pt>
              </c:numCache>
            </c:num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782-4078-82B1-C33E117562C9}"/>
            </c:ext>
          </c:extLst>
        </c:ser>
        <c:ser>
          <c:idx val="4"/>
          <c:order val="4"/>
          <c:tx>
            <c:strRef>
              <c:f>Sheet1!$E$1</c:f>
              <c:strCache>
                <c:ptCount val="1"/>
                <c:pt idx="0">
                  <c:v>合計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j-ea"/>
                    <a:ea typeface="+mj-ea"/>
                    <a:cs typeface="+mn-cs"/>
                  </a:defRPr>
                </a:pPr>
                <a:endParaRPr lang="ja-JP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2</c:f>
              <c:numCache>
                <c:formatCode>0_);[Red]\(0\)</c:formatCode>
                <c:ptCount val="11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  <c:pt idx="3">
                  <c:v>2027</c:v>
                </c:pt>
                <c:pt idx="4">
                  <c:v>2028</c:v>
                </c:pt>
                <c:pt idx="5">
                  <c:v>2029</c:v>
                </c:pt>
                <c:pt idx="6">
                  <c:v>2030</c:v>
                </c:pt>
                <c:pt idx="7">
                  <c:v>2031</c:v>
                </c:pt>
                <c:pt idx="8">
                  <c:v>2032</c:v>
                </c:pt>
                <c:pt idx="9">
                  <c:v>2033</c:v>
                </c:pt>
                <c:pt idx="10">
                  <c:v>2034</c:v>
                </c:pt>
              </c:numCache>
            </c:numRef>
          </c:cat>
          <c:val>
            <c:numRef>
              <c:f>Sheet1!$E$2:$E$12</c:f>
              <c:numCache>
                <c:formatCode>0</c:formatCode>
                <c:ptCount val="11"/>
                <c:pt idx="0">
                  <c:v>60</c:v>
                </c:pt>
                <c:pt idx="1">
                  <c:v>64.900000000000006</c:v>
                </c:pt>
                <c:pt idx="2">
                  <c:v>70.369000000000014</c:v>
                </c:pt>
                <c:pt idx="3">
                  <c:v>76.496890000000008</c:v>
                </c:pt>
                <c:pt idx="4">
                  <c:v>83.39014090000002</c:v>
                </c:pt>
                <c:pt idx="5">
                  <c:v>91.175038729000022</c:v>
                </c:pt>
                <c:pt idx="6">
                  <c:v>100.00156089649002</c:v>
                </c:pt>
                <c:pt idx="7">
                  <c:v>110.04802258621692</c:v>
                </c:pt>
                <c:pt idx="8">
                  <c:v>121.52664701912431</c:v>
                </c:pt>
                <c:pt idx="9">
                  <c:v>134.69024403989289</c:v>
                </c:pt>
                <c:pt idx="10">
                  <c:v>149.840218353488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782-4078-82B1-C33E117562C9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618949728"/>
        <c:axId val="1618959328"/>
      </c:barChart>
      <c:catAx>
        <c:axId val="1618949728"/>
        <c:scaling>
          <c:orientation val="minMax"/>
        </c:scaling>
        <c:delete val="0"/>
        <c:axPos val="b"/>
        <c:numFmt formatCode="0_);[Red]\(0\)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ea"/>
                <a:ea typeface="+mj-ea"/>
                <a:cs typeface="+mn-cs"/>
              </a:defRPr>
            </a:pPr>
            <a:endParaRPr lang="ja-JP"/>
          </a:p>
        </c:txPr>
        <c:crossAx val="1618959328"/>
        <c:crosses val="autoZero"/>
        <c:auto val="1"/>
        <c:lblAlgn val="ctr"/>
        <c:lblOffset val="100"/>
        <c:noMultiLvlLbl val="0"/>
      </c:catAx>
      <c:valAx>
        <c:axId val="1618959328"/>
        <c:scaling>
          <c:orientation val="minMax"/>
          <c:max val="2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ea"/>
                <a:ea typeface="+mj-ea"/>
                <a:cs typeface="+mn-cs"/>
              </a:defRPr>
            </a:pPr>
            <a:endParaRPr lang="ja-JP"/>
          </a:p>
        </c:txPr>
        <c:crossAx val="16189497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4"/>
        <c:delete val="1"/>
      </c:legendEntry>
      <c:layout>
        <c:manualLayout>
          <c:xMode val="edge"/>
          <c:yMode val="edge"/>
          <c:x val="0.12529315725298118"/>
          <c:y val="0.21795499577688801"/>
          <c:w val="0.19171975321876686"/>
          <c:h val="8.29019447354302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j-ea"/>
              <a:ea typeface="+mj-ea"/>
              <a:cs typeface="+mn-cs"/>
            </a:defRPr>
          </a:pPr>
          <a:endParaRPr lang="ja-JP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j-ea"/>
          <a:ea typeface="+mj-ea"/>
        </a:defRPr>
      </a:pPr>
      <a:endParaRPr lang="ja-JP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quarter" idx="1"/>
          </p:nvPr>
        </p:nvSpPr>
        <p:spPr>
          <a:xfrm>
            <a:off x="3815373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kumimoji="1" lang="ja-JP" altLang="en-US" sz="1400">
                <a:latin typeface="メイリオ" panose="020B0604030504040204" pitchFamily="50" charset="-128"/>
                <a:ea typeface="メイリオ" panose="020B0604030504040204" pitchFamily="50" charset="-128"/>
              </a:rPr>
              <a:t>機密性○</a:t>
            </a:r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2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3"/>
          </p:nvPr>
        </p:nvSpPr>
        <p:spPr>
          <a:xfrm>
            <a:off x="3815373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0C1D9C-4153-45A3-ABA8-5AC906D32479}" type="slidenum">
              <a:rPr kumimoji="1" lang="ja-JP" altLang="en-US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‹#›</a:t>
            </a:fld>
            <a:endParaRPr kumimoji="1" lang="ja-JP" altLang="en-US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56108798"/>
      </p:ext>
    </p:extLst>
  </p:cSld>
  <p:clrMap bg1="lt1" tx1="dk1" bg2="lt2" tx2="dk2" accent1="accent1" accent2="accent2" accent3="accent3" accent4="accent4" accent5="accent5" accent6="accent6" hlink="hlink" folHlink="folHlink"/>
  <p:hf sldNum="0" hdr="0" ftr="0"/>
  <p:extLst>
    <p:ext uri="{56416CCD-93CA-4268-BC5B-53C4BB910035}">
      <p15:sldGuideLst xmlns:p15="http://schemas.microsoft.com/office/powerpoint/2012/main">
        <p15:guide id="1" orient="horz" pos="3107" userDrawn="1">
          <p15:clr>
            <a:srgbClr val="F26B43"/>
          </p15:clr>
        </p15:guide>
        <p15:guide id="2" pos="2121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メイリオ" panose="020B0604030504040204" pitchFamily="50" charset="-128"/>
                <a:ea typeface="メイリオ" panose="020B0604030504040204" pitchFamily="50" charset="-128"/>
              </a:defRPr>
            </a:lvl1pPr>
          </a:lstStyle>
          <a:p>
            <a:endParaRPr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400" b="0" i="0">
                <a:latin typeface="メイリオ" panose="020B0604030504040204" pitchFamily="50" charset="-128"/>
                <a:ea typeface="メイリオ" panose="020B0604030504040204" pitchFamily="50" charset="-128"/>
              </a:defRPr>
            </a:lvl1pPr>
          </a:lstStyle>
          <a:p>
            <a:r>
              <a:rPr lang="ja-JP" altLang="en-US"/>
              <a:t>機密性○</a:t>
            </a:r>
            <a:endParaRPr lang="en-US" altLang="ja-JP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79375" y="739775"/>
            <a:ext cx="6577013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577" y="4686499"/>
            <a:ext cx="5388610" cy="443984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メイリオ" panose="020B0604030504040204" pitchFamily="50" charset="-128"/>
                <a:ea typeface="メイリオ" panose="020B0604030504040204" pitchFamily="50" charset="-128"/>
              </a:defRPr>
            </a:lvl1pPr>
          </a:lstStyle>
          <a:p>
            <a:endParaRPr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5373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メイリオ" panose="020B0604030504040204" pitchFamily="50" charset="-128"/>
                <a:ea typeface="メイリオ" panose="020B0604030504040204" pitchFamily="50" charset="-128"/>
              </a:defRPr>
            </a:lvl1pPr>
          </a:lstStyle>
          <a:p>
            <a:fld id="{FD35E722-DCEB-4B9B-850A-0990A504E40F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86926932"/>
      </p:ext>
    </p:extLst>
  </p:cSld>
  <p:clrMap bg1="lt1" tx1="dk1" bg2="lt2" tx2="dk2" accent1="accent1" accent2="accent2" accent3="accent3" accent4="accent4" accent5="accent5" accent6="accent6" hlink="hlink" folHlink="folHlink"/>
  <p:hf sldNum="0" hdr="0" ftr="0"/>
  <p:notesStyle>
    <a:lvl1pPr marL="0" algn="l" defTabSz="914400" rtl="0" eaLnBrk="1" latinLnBrk="0" hangingPunct="1">
      <a:defRPr kumimoji="1" sz="1200" b="0" i="0" kern="1200">
        <a:solidFill>
          <a:schemeClr val="tx1"/>
        </a:solidFill>
        <a:latin typeface="メイリオ" panose="020B0604030504040204" pitchFamily="50" charset="-128"/>
        <a:ea typeface="メイリオ" panose="020B0604030504040204" pitchFamily="50" charset="-128"/>
        <a:cs typeface="+mn-cs"/>
      </a:defRPr>
    </a:lvl1pPr>
    <a:lvl2pPr marL="457200" algn="l" defTabSz="914400" rtl="0" eaLnBrk="1" latinLnBrk="0" hangingPunct="1">
      <a:defRPr kumimoji="1" sz="1200" b="0" i="0" kern="1200">
        <a:solidFill>
          <a:schemeClr val="tx1"/>
        </a:solidFill>
        <a:latin typeface="メイリオ" panose="020B0604030504040204" pitchFamily="50" charset="-128"/>
        <a:ea typeface="メイリオ" panose="020B0604030504040204" pitchFamily="50" charset="-128"/>
        <a:cs typeface="+mn-cs"/>
      </a:defRPr>
    </a:lvl2pPr>
    <a:lvl3pPr marL="914400" algn="l" defTabSz="914400" rtl="0" eaLnBrk="1" latinLnBrk="0" hangingPunct="1">
      <a:defRPr kumimoji="1" sz="1200" b="0" i="0" kern="1200">
        <a:solidFill>
          <a:schemeClr val="tx1"/>
        </a:solidFill>
        <a:latin typeface="メイリオ" panose="020B0604030504040204" pitchFamily="50" charset="-128"/>
        <a:ea typeface="メイリオ" panose="020B0604030504040204" pitchFamily="50" charset="-128"/>
        <a:cs typeface="+mn-cs"/>
      </a:defRPr>
    </a:lvl3pPr>
    <a:lvl4pPr marL="1371600" algn="l" defTabSz="914400" rtl="0" eaLnBrk="1" latinLnBrk="0" hangingPunct="1">
      <a:defRPr kumimoji="1" sz="1200" b="0" i="0" kern="1200">
        <a:solidFill>
          <a:schemeClr val="tx1"/>
        </a:solidFill>
        <a:latin typeface="メイリオ" panose="020B0604030504040204" pitchFamily="50" charset="-128"/>
        <a:ea typeface="メイリオ" panose="020B0604030504040204" pitchFamily="50" charset="-128"/>
        <a:cs typeface="+mn-cs"/>
      </a:defRPr>
    </a:lvl4pPr>
    <a:lvl5pPr marL="1828800" algn="l" defTabSz="914400" rtl="0" eaLnBrk="1" latinLnBrk="0" hangingPunct="1">
      <a:defRPr kumimoji="1" sz="1200" b="0" i="0" kern="1200">
        <a:solidFill>
          <a:schemeClr val="tx1"/>
        </a:solidFill>
        <a:latin typeface="メイリオ" panose="020B0604030504040204" pitchFamily="50" charset="-128"/>
        <a:ea typeface="メイリオ" panose="020B0604030504040204" pitchFamily="50" charset="-128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 hasCustomPrompt="1"/>
          </p:nvPr>
        </p:nvSpPr>
        <p:spPr>
          <a:xfrm>
            <a:off x="443076" y="3082756"/>
            <a:ext cx="11305846" cy="9358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108000" rIns="0" bIns="72000">
            <a:spAutoFit/>
          </a:bodyPr>
          <a:lstStyle>
            <a:lvl1pPr algn="ctr">
              <a:lnSpc>
                <a:spcPct val="130000"/>
              </a:lnSpc>
              <a:defRPr lang="ja-JP" altLang="en-US" sz="4000" b="1" i="0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marL="0" lvl="0"/>
            <a:r>
              <a:rPr kumimoji="1" lang="ja-JP" altLang="en-US" dirty="0"/>
              <a:t>スライドタイトル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 hasCustomPrompt="1"/>
          </p:nvPr>
        </p:nvSpPr>
        <p:spPr>
          <a:xfrm>
            <a:off x="456094" y="5024337"/>
            <a:ext cx="11305845" cy="49244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30000"/>
              </a:lnSpc>
              <a:buNone/>
              <a:defRPr lang="ja-JP" altLang="en-US" sz="1600" b="0" i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4pPr>
              <a:defRPr>
                <a:latin typeface="+mj-ea"/>
                <a:ea typeface="+mj-ea"/>
              </a:defRPr>
            </a:lvl4pPr>
            <a:lvl5pPr>
              <a:defRPr>
                <a:latin typeface="+mj-ea"/>
                <a:ea typeface="+mj-ea"/>
              </a:defRPr>
            </a:lvl5pPr>
            <a:lvl6pPr>
              <a:defRPr sz="1600">
                <a:latin typeface="+mj-ea"/>
                <a:ea typeface="+mj-ea"/>
              </a:defRPr>
            </a:lvl6pPr>
            <a:lvl7pPr>
              <a:defRPr sz="1600">
                <a:latin typeface="+mn-ea"/>
                <a:ea typeface="+mn-ea"/>
              </a:defRPr>
            </a:lvl7pPr>
            <a:lvl8pPr>
              <a:defRPr sz="1600">
                <a:latin typeface="+mj-ea"/>
                <a:ea typeface="+mj-ea"/>
              </a:defRPr>
            </a:lvl8pPr>
            <a:lvl9pPr>
              <a:defRPr sz="1600">
                <a:latin typeface="+mn-ea"/>
                <a:ea typeface="+mn-ea"/>
              </a:defRPr>
            </a:lvl9pPr>
          </a:lstStyle>
          <a:p>
            <a:pPr marL="0" marR="0" lvl="0" indent="0" algn="ctr" defTabSz="91442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2060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1" lang="en-US" altLang="ja-JP" dirty="0"/>
              <a:t>20XX</a:t>
            </a:r>
            <a:r>
              <a:rPr kumimoji="1" lang="ja-JP" altLang="en-US" dirty="0"/>
              <a:t>年</a:t>
            </a:r>
            <a:r>
              <a:rPr kumimoji="1" lang="en-US" altLang="ja-JP" dirty="0"/>
              <a:t>XX</a:t>
            </a:r>
            <a:r>
              <a:rPr kumimoji="1" lang="ja-JP" altLang="en-US" dirty="0"/>
              <a:t>月</a:t>
            </a:r>
            <a:r>
              <a:rPr kumimoji="1" lang="en-US" altLang="ja-JP" dirty="0"/>
              <a:t>XX</a:t>
            </a:r>
            <a:r>
              <a:rPr kumimoji="1" lang="ja-JP" altLang="en-US" dirty="0"/>
              <a:t>日</a:t>
            </a:r>
            <a:br>
              <a:rPr kumimoji="1" lang="en-US" altLang="ja-JP" dirty="0"/>
            </a:br>
            <a:r>
              <a:rPr kumimoji="1" lang="ja-JP" altLang="en-US"/>
              <a:t>中小企業庁</a:t>
            </a:r>
            <a:r>
              <a:rPr lang="zh-TW" altLang="en-US" dirty="0"/>
              <a:t> </a:t>
            </a:r>
            <a:r>
              <a:rPr lang="ja-JP" altLang="en-US"/>
              <a:t>企画</a:t>
            </a:r>
            <a:r>
              <a:rPr lang="zh-TW" altLang="en-US" dirty="0"/>
              <a:t>課</a:t>
            </a:r>
          </a:p>
        </p:txBody>
      </p:sp>
      <p:sp>
        <p:nvSpPr>
          <p:cNvPr id="6" name="スライド番号プレースホルダー 4">
            <a:extLst>
              <a:ext uri="{FF2B5EF4-FFF2-40B4-BE49-F238E27FC236}">
                <a16:creationId xmlns:a16="http://schemas.microsoft.com/office/drawing/2014/main" id="{BBCC16C2-9372-B05B-2EBA-2F71B019DD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69169" y="6433200"/>
            <a:ext cx="522831" cy="424800"/>
          </a:xfrm>
          <a:prstGeom prst="rect">
            <a:avLst/>
          </a:prstGeom>
          <a:noFill/>
        </p:spPr>
        <p:txBody>
          <a:bodyPr lIns="0" tIns="0" rIns="144000" bIns="144000"/>
          <a:lstStyle>
            <a:lvl1pPr algn="r">
              <a:defRPr sz="1400" b="0" i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Arial" panose="020B0604020202020204" pitchFamily="34" charset="0"/>
              </a:defRPr>
            </a:lvl1pPr>
          </a:lstStyle>
          <a:p>
            <a:fld id="{D9550142-B990-490A-A107-ED7302A7FD52}" type="slidenum">
              <a:rPr lang="en-US" altLang="ja-JP" smtClean="0"/>
              <a:pPr/>
              <a:t>‹#›</a:t>
            </a:fld>
            <a:endParaRPr lang="en-US"/>
          </a:p>
        </p:txBody>
      </p:sp>
      <p:pic>
        <p:nvPicPr>
          <p:cNvPr id="11" name="図 10" descr="テキスト&#10;&#10;AI によって生成されたコンテンツは間違っている可能性があります。">
            <a:extLst>
              <a:ext uri="{FF2B5EF4-FFF2-40B4-BE49-F238E27FC236}">
                <a16:creationId xmlns:a16="http://schemas.microsoft.com/office/drawing/2014/main" id="{44DDE737-43EE-7031-8C24-7DF512B0D2A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336" y="116632"/>
            <a:ext cx="2351584" cy="718351"/>
          </a:xfrm>
          <a:prstGeom prst="rect">
            <a:avLst/>
          </a:prstGeom>
        </p:spPr>
      </p:pic>
      <p:pic>
        <p:nvPicPr>
          <p:cNvPr id="12" name="図 11" descr="コンピュータ, コンパクトディスク が含まれている画像&#10;&#10;AI によって生成されたコンテンツは間違っている可能性があります。">
            <a:extLst>
              <a:ext uri="{FF2B5EF4-FFF2-40B4-BE49-F238E27FC236}">
                <a16:creationId xmlns:a16="http://schemas.microsoft.com/office/drawing/2014/main" id="{5381218F-435F-A8D2-2A52-662F3F47CA7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24"/>
            <a:ext cx="12192000" cy="6855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72179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スライド番号プレースホルダー 4">
            <a:extLst>
              <a:ext uri="{FF2B5EF4-FFF2-40B4-BE49-F238E27FC236}">
                <a16:creationId xmlns:a16="http://schemas.microsoft.com/office/drawing/2014/main" id="{7F8B39E5-E5C4-1549-647B-B2CE8575CB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69169" y="6433200"/>
            <a:ext cx="522831" cy="424800"/>
          </a:xfrm>
          <a:prstGeom prst="rect">
            <a:avLst/>
          </a:prstGeom>
          <a:noFill/>
        </p:spPr>
        <p:txBody>
          <a:bodyPr lIns="0" tIns="0" rIns="144000" bIns="144000"/>
          <a:lstStyle>
            <a:lvl1pPr algn="r">
              <a:defRPr sz="1400" b="0" i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Arial" panose="020B0604020202020204" pitchFamily="34" charset="0"/>
              </a:defRPr>
            </a:lvl1pPr>
          </a:lstStyle>
          <a:p>
            <a:fld id="{D9550142-B990-490A-A107-ED7302A7FD52}" type="slidenum">
              <a:rPr lang="en-US" altLang="ja-JP" smtClean="0"/>
              <a:pPr/>
              <a:t>‹#›</a:t>
            </a:fld>
            <a:endParaRPr lang="en-US"/>
          </a:p>
        </p:txBody>
      </p:sp>
      <p:sp>
        <p:nvSpPr>
          <p:cNvPr id="50" name="タイトル 1">
            <a:extLst>
              <a:ext uri="{FF2B5EF4-FFF2-40B4-BE49-F238E27FC236}">
                <a16:creationId xmlns:a16="http://schemas.microsoft.com/office/drawing/2014/main" id="{CA219888-D0B6-F250-7902-1434DE0CF4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073" y="366716"/>
            <a:ext cx="11305846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lang="ja-JP" altLang="en-US" sz="3200" b="1" i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marL="0" lvl="0" algn="l"/>
            <a:r>
              <a:rPr kumimoji="1" lang="ja-JP" altLang="en-US" dirty="0"/>
              <a:t>目次</a:t>
            </a:r>
          </a:p>
        </p:txBody>
      </p:sp>
      <p:sp>
        <p:nvSpPr>
          <p:cNvPr id="51" name="テキスト プレースホルダー 9">
            <a:extLst>
              <a:ext uri="{FF2B5EF4-FFF2-40B4-BE49-F238E27FC236}">
                <a16:creationId xmlns:a16="http://schemas.microsoft.com/office/drawing/2014/main" id="{4894F5FE-60A5-361A-5A8D-0D265407E8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3071" y="6498006"/>
            <a:ext cx="9880615" cy="123111"/>
          </a:xfrm>
          <a:noFill/>
        </p:spPr>
        <p:txBody>
          <a:bodyPr wrap="square" lIns="0" tIns="0" rIns="0" bIns="0" anchor="ctr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 i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参考</a:t>
            </a:r>
            <a:r>
              <a:rPr kumimoji="1" lang="en-US" altLang="ja-JP"/>
              <a:t>/</a:t>
            </a:r>
            <a:r>
              <a:rPr kumimoji="1" lang="ja-JP" altLang="en-US"/>
              <a:t>引用文献等：</a:t>
            </a:r>
            <a:r>
              <a:rPr kumimoji="1" lang="en-US" altLang="ja-JP"/>
              <a:t>8pt</a:t>
            </a:r>
          </a:p>
        </p:txBody>
      </p:sp>
      <p:sp>
        <p:nvSpPr>
          <p:cNvPr id="3" name="テキスト プレースホルダー 8">
            <a:extLst>
              <a:ext uri="{FF2B5EF4-FFF2-40B4-BE49-F238E27FC236}">
                <a16:creationId xmlns:a16="http://schemas.microsoft.com/office/drawing/2014/main" id="{3EE3E01E-3F79-A45A-7179-85544275E81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3072" y="1138194"/>
            <a:ext cx="7330149" cy="2360234"/>
          </a:xfrm>
        </p:spPr>
        <p:txBody>
          <a:bodyPr/>
          <a:lstStyle>
            <a:lvl1pPr marL="342908" indent="-342908">
              <a:lnSpc>
                <a:spcPct val="130000"/>
              </a:lnSpc>
              <a:buClr>
                <a:schemeClr val="tx1"/>
              </a:buClr>
              <a:buFont typeface="+mj-lt"/>
              <a:buAutoNum type="arabicPeriod"/>
              <a:defRPr sz="1600" b="0" i="0">
                <a:latin typeface="+mn-ea"/>
                <a:ea typeface="+mn-ea"/>
              </a:defRPr>
            </a:lvl1pPr>
            <a:lvl4pPr>
              <a:defRPr sz="1600">
                <a:latin typeface="+mn-ea"/>
                <a:ea typeface="+mn-ea"/>
              </a:defRPr>
            </a:lvl4pPr>
            <a:lvl5pPr>
              <a:defRPr sz="1600">
                <a:latin typeface="+mn-ea"/>
                <a:ea typeface="+mn-ea"/>
              </a:defRPr>
            </a:lvl5pPr>
            <a:lvl6pPr>
              <a:defRPr sz="1600">
                <a:latin typeface="+mn-ea"/>
                <a:ea typeface="+mn-ea"/>
              </a:defRPr>
            </a:lvl6pPr>
          </a:lstStyle>
          <a:p>
            <a:pPr lvl="0"/>
            <a:r>
              <a:rPr kumimoji="1" lang="ja-JP" altLang="en-US" dirty="0"/>
              <a:t>セクション</a:t>
            </a:r>
            <a:r>
              <a:rPr kumimoji="1" lang="en-US" altLang="ja-JP" dirty="0"/>
              <a:t> 01</a:t>
            </a:r>
          </a:p>
          <a:p>
            <a:pPr lvl="0"/>
            <a:r>
              <a:rPr kumimoji="1" lang="ja-JP" altLang="en-US" dirty="0"/>
              <a:t>セクション</a:t>
            </a:r>
            <a:r>
              <a:rPr kumimoji="1" lang="en-US" altLang="ja-JP" dirty="0"/>
              <a:t> 02</a:t>
            </a:r>
          </a:p>
          <a:p>
            <a:pPr lvl="0"/>
            <a:r>
              <a:rPr kumimoji="1" lang="ja-JP" altLang="en-US" dirty="0"/>
              <a:t>セクション</a:t>
            </a:r>
            <a:r>
              <a:rPr kumimoji="1" lang="en-US" altLang="ja-JP" dirty="0"/>
              <a:t> 03</a:t>
            </a:r>
          </a:p>
          <a:p>
            <a:pPr lvl="0"/>
            <a:r>
              <a:rPr kumimoji="1" lang="ja-JP" altLang="en-US" dirty="0"/>
              <a:t>セクション</a:t>
            </a:r>
            <a:r>
              <a:rPr kumimoji="1" lang="en-US" altLang="ja-JP" dirty="0"/>
              <a:t> 04</a:t>
            </a:r>
          </a:p>
          <a:p>
            <a:pPr marL="342908" marR="0" lvl="0" indent="-342908" algn="l" defTabSz="91442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2060"/>
              </a:buClr>
              <a:buSzTx/>
              <a:buFont typeface="+mj-lt"/>
              <a:buAutoNum type="arabicPeriod"/>
              <a:tabLst/>
              <a:defRPr/>
            </a:pPr>
            <a:r>
              <a:rPr kumimoji="1" lang="ja-JP" altLang="en-US" dirty="0"/>
              <a:t>セクション</a:t>
            </a:r>
            <a:r>
              <a:rPr kumimoji="1" lang="en-US" altLang="ja-JP" dirty="0"/>
              <a:t> 05</a:t>
            </a:r>
          </a:p>
        </p:txBody>
      </p:sp>
      <p:sp>
        <p:nvSpPr>
          <p:cNvPr id="4" name="テキスト プレースホルダー 8">
            <a:extLst>
              <a:ext uri="{FF2B5EF4-FFF2-40B4-BE49-F238E27FC236}">
                <a16:creationId xmlns:a16="http://schemas.microsoft.com/office/drawing/2014/main" id="{66F75DC8-7F8B-DE8F-5A34-63C830C27B7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773220" y="1138194"/>
            <a:ext cx="2550466" cy="2360234"/>
          </a:xfrm>
        </p:spPr>
        <p:txBody>
          <a:bodyPr/>
          <a:lstStyle>
            <a:lvl1pPr marL="0" indent="0" algn="r">
              <a:lnSpc>
                <a:spcPct val="130000"/>
              </a:lnSpc>
              <a:buFont typeface="+mj-lt"/>
              <a:buNone/>
              <a:defRPr sz="1600" b="0" i="0">
                <a:latin typeface="+mj-ea"/>
                <a:ea typeface="+mj-ea"/>
              </a:defRPr>
            </a:lvl1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>
                <a:latin typeface="+mj-ea"/>
                <a:ea typeface="+mj-ea"/>
              </a:defRPr>
            </a:lvl6pPr>
            <a:lvl7pPr>
              <a:defRPr>
                <a:latin typeface="+mj-ea"/>
                <a:ea typeface="+mj-ea"/>
              </a:defRPr>
            </a:lvl7pPr>
          </a:lstStyle>
          <a:p>
            <a:pPr marL="0" indent="0" algn="r">
              <a:buNone/>
            </a:pPr>
            <a:r>
              <a:rPr lang="en-US" altLang="ja-JP"/>
              <a:t>------- 001</a:t>
            </a:r>
            <a:endParaRPr lang="ja-JP" altLang="en-US"/>
          </a:p>
          <a:p>
            <a:pPr marL="0" lvl="0" indent="0" algn="r">
              <a:buNone/>
            </a:pPr>
            <a:r>
              <a:rPr lang="en-US" altLang="ja-JP"/>
              <a:t>------- 001</a:t>
            </a:r>
            <a:endParaRPr lang="ja-JP" altLang="en-US"/>
          </a:p>
          <a:p>
            <a:pPr marL="0" lvl="0" indent="0" algn="r">
              <a:buNone/>
            </a:pPr>
            <a:r>
              <a:rPr lang="en-US" altLang="ja-JP"/>
              <a:t>------- 001</a:t>
            </a:r>
          </a:p>
          <a:p>
            <a:pPr marL="0" indent="0" algn="r">
              <a:buNone/>
            </a:pPr>
            <a:r>
              <a:rPr lang="en-US" altLang="ja-JP"/>
              <a:t>------- 001</a:t>
            </a:r>
          </a:p>
          <a:p>
            <a:pPr marL="0" marR="0" lvl="0" indent="0" algn="r" defTabSz="91442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2060"/>
              </a:buClr>
              <a:buSzTx/>
              <a:buFont typeface="+mj-lt"/>
              <a:buNone/>
              <a:tabLst/>
              <a:defRPr/>
            </a:pPr>
            <a:r>
              <a:rPr lang="en-US" altLang="ja-JP"/>
              <a:t>------- 001</a:t>
            </a:r>
          </a:p>
        </p:txBody>
      </p:sp>
    </p:spTree>
    <p:extLst>
      <p:ext uri="{BB962C8B-B14F-4D97-AF65-F5344CB8AC3E}">
        <p14:creationId xmlns:p14="http://schemas.microsoft.com/office/powerpoint/2010/main" val="435078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 userDrawn="1">
          <p15:clr>
            <a:srgbClr val="FBAE40"/>
          </p15:clr>
        </p15:guide>
        <p15:guide id="2" pos="2939" userDrawn="1">
          <p15:clr>
            <a:srgbClr val="FBAE40"/>
          </p15:clr>
        </p15:guide>
        <p15:guide id="3" pos="3301" userDrawn="1">
          <p15:clr>
            <a:srgbClr val="FBAE40"/>
          </p15:clr>
        </p15:guide>
        <p15:guide id="4" pos="3120" userDrawn="1">
          <p15:clr>
            <a:srgbClr val="FBAE40"/>
          </p15:clr>
        </p15:guide>
        <p15:guide id="5" pos="1646" userDrawn="1">
          <p15:clr>
            <a:srgbClr val="FBAE40"/>
          </p15:clr>
        </p15:guide>
        <p15:guide id="6" pos="1510" userDrawn="1">
          <p15:clr>
            <a:srgbClr val="FBAE40"/>
          </p15:clr>
        </p15:guide>
        <p15:guide id="7" pos="217" userDrawn="1">
          <p15:clr>
            <a:srgbClr val="FBAE40"/>
          </p15:clr>
        </p15:guide>
        <p15:guide id="8" pos="4594" userDrawn="1">
          <p15:clr>
            <a:srgbClr val="FBAE40"/>
          </p15:clr>
        </p15:guide>
        <p15:guide id="9" pos="4730" userDrawn="1">
          <p15:clr>
            <a:srgbClr val="FBAE40"/>
          </p15:clr>
        </p15:guide>
        <p15:guide id="10" pos="6023" userDrawn="1">
          <p15:clr>
            <a:srgbClr val="FBAE40"/>
          </p15:clr>
        </p15:guide>
        <p15:guide id="12" orient="horz" pos="4088" userDrawn="1">
          <p15:clr>
            <a:srgbClr val="FBAE40"/>
          </p15:clr>
        </p15:guide>
        <p15:guide id="13" orient="horz" pos="3861" userDrawn="1">
          <p15:clr>
            <a:srgbClr val="FBAE40"/>
          </p15:clr>
        </p15:guide>
        <p15:guide id="14" orient="horz" pos="595" userDrawn="1">
          <p15:clr>
            <a:srgbClr val="FBAE40"/>
          </p15:clr>
        </p15:guide>
        <p15:guide id="15" orient="horz" pos="709" userDrawn="1">
          <p15:clr>
            <a:srgbClr val="FBAE40"/>
          </p15:clr>
        </p15:guide>
        <p15:guide id="16" orient="horz" pos="1366" userDrawn="1">
          <p15:clr>
            <a:srgbClr val="FBAE40"/>
          </p15:clr>
        </p15:guide>
        <p15:guide id="17" orient="horz" pos="2614" userDrawn="1">
          <p15:clr>
            <a:srgbClr val="FBAE40"/>
          </p15:clr>
        </p15:guide>
        <p15:guide id="18" orient="horz" pos="1480" userDrawn="1">
          <p15:clr>
            <a:srgbClr val="FBAE40"/>
          </p15:clr>
        </p15:guide>
        <p15:guide id="19" orient="horz" pos="2727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1">
            <a:extLst>
              <a:ext uri="{FF2B5EF4-FFF2-40B4-BE49-F238E27FC236}">
                <a16:creationId xmlns:a16="http://schemas.microsoft.com/office/drawing/2014/main" id="{16547944-49EF-1EFF-32E6-905A8579D21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43076" y="3082756"/>
            <a:ext cx="11305846" cy="9358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108000" rIns="0" bIns="72000">
            <a:spAutoFit/>
          </a:bodyPr>
          <a:lstStyle>
            <a:lvl1pPr algn="l">
              <a:lnSpc>
                <a:spcPct val="130000"/>
              </a:lnSpc>
              <a:defRPr lang="ja-JP" altLang="en-US" sz="4000" b="1" i="0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marL="0" lvl="0"/>
            <a:r>
              <a:rPr kumimoji="1" lang="en-US" altLang="ja-JP" dirty="0"/>
              <a:t>01. </a:t>
            </a:r>
            <a:r>
              <a:rPr kumimoji="1" lang="ja-JP" altLang="en-US" dirty="0"/>
              <a:t>セクション名</a:t>
            </a:r>
          </a:p>
        </p:txBody>
      </p:sp>
      <p:pic>
        <p:nvPicPr>
          <p:cNvPr id="8" name="図 7" descr="コンピュータ, コンパクトディスク が含まれている画像&#10;&#10;AI によって生成されたコンテンツは間違っている可能性があります。">
            <a:extLst>
              <a:ext uri="{FF2B5EF4-FFF2-40B4-BE49-F238E27FC236}">
                <a16:creationId xmlns:a16="http://schemas.microsoft.com/office/drawing/2014/main" id="{5D83BA27-92BB-3FE5-6296-FFD18C8E0B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24"/>
            <a:ext cx="12192000" cy="6855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46448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スライド番号プレースホルダー 4">
            <a:extLst>
              <a:ext uri="{FF2B5EF4-FFF2-40B4-BE49-F238E27FC236}">
                <a16:creationId xmlns:a16="http://schemas.microsoft.com/office/drawing/2014/main" id="{7F8B39E5-E5C4-1549-647B-B2CE8575CB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69169" y="6433200"/>
            <a:ext cx="522831" cy="424800"/>
          </a:xfrm>
          <a:prstGeom prst="rect">
            <a:avLst/>
          </a:prstGeom>
          <a:noFill/>
        </p:spPr>
        <p:txBody>
          <a:bodyPr lIns="0" tIns="0" rIns="144000" bIns="144000"/>
          <a:lstStyle>
            <a:lvl1pPr algn="r">
              <a:defRPr sz="1400" b="0" i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Arial" panose="020B0604020202020204" pitchFamily="34" charset="0"/>
              </a:defRPr>
            </a:lvl1pPr>
          </a:lstStyle>
          <a:p>
            <a:fld id="{D9550142-B990-490A-A107-ED7302A7FD52}" type="slidenum">
              <a:rPr lang="en-US" altLang="ja-JP" smtClean="0"/>
              <a:pPr/>
              <a:t>‹#›</a:t>
            </a:fld>
            <a:endParaRPr lang="en-US"/>
          </a:p>
        </p:txBody>
      </p:sp>
      <p:sp>
        <p:nvSpPr>
          <p:cNvPr id="50" name="タイトル 1">
            <a:extLst>
              <a:ext uri="{FF2B5EF4-FFF2-40B4-BE49-F238E27FC236}">
                <a16:creationId xmlns:a16="http://schemas.microsoft.com/office/drawing/2014/main" id="{CA219888-D0B6-F250-7902-1434DE0CF4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074" y="366716"/>
            <a:ext cx="11305842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lang="ja-JP" altLang="en-US" sz="3200" b="1" i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marL="0" lvl="0" algn="l"/>
            <a:r>
              <a:rPr kumimoji="1" lang="ja-JP" altLang="en-US"/>
              <a:t>スライドタイトル：</a:t>
            </a:r>
            <a:r>
              <a:rPr kumimoji="1" lang="en-US" altLang="ja-JP"/>
              <a:t>13</a:t>
            </a:r>
            <a:r>
              <a:rPr kumimoji="1" lang="ja-JP" altLang="en-US"/>
              <a:t>字以内 </a:t>
            </a:r>
            <a:r>
              <a:rPr kumimoji="1" lang="en-US" altLang="ja-JP"/>
              <a:t>32pt</a:t>
            </a:r>
            <a:endParaRPr kumimoji="1" lang="ja-JP" altLang="en-US"/>
          </a:p>
        </p:txBody>
      </p:sp>
      <p:sp>
        <p:nvSpPr>
          <p:cNvPr id="51" name="テキスト プレースホルダー 9">
            <a:extLst>
              <a:ext uri="{FF2B5EF4-FFF2-40B4-BE49-F238E27FC236}">
                <a16:creationId xmlns:a16="http://schemas.microsoft.com/office/drawing/2014/main" id="{4894F5FE-60A5-361A-5A8D-0D265407E8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2210" y="6494645"/>
            <a:ext cx="9556278" cy="123111"/>
          </a:xfrm>
          <a:noFill/>
        </p:spPr>
        <p:txBody>
          <a:bodyPr wrap="square" lIns="0" tIns="0" rIns="0" bIns="0" anchor="ctr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 i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出典先：</a:t>
            </a:r>
            <a:r>
              <a:rPr kumimoji="1" lang="en-US" altLang="ja-JP"/>
              <a:t>8pt</a:t>
            </a:r>
          </a:p>
        </p:txBody>
      </p:sp>
      <p:sp>
        <p:nvSpPr>
          <p:cNvPr id="52" name="テキスト プレースホルダー 11">
            <a:extLst>
              <a:ext uri="{FF2B5EF4-FFF2-40B4-BE49-F238E27FC236}">
                <a16:creationId xmlns:a16="http://schemas.microsoft.com/office/drawing/2014/main" id="{24C0F4B5-3232-8664-604F-8CF3AE3D63D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3070" y="1138195"/>
            <a:ext cx="11305846" cy="667839"/>
          </a:xfrm>
          <a:solidFill>
            <a:srgbClr val="F3F6F6"/>
          </a:solidFill>
          <a:ln>
            <a:noFill/>
          </a:ln>
        </p:spPr>
        <p:txBody>
          <a:bodyPr vert="horz" wrap="square" lIns="216000" tIns="144000" rIns="216000" bIns="144000" rtlCol="0" anchor="t" anchorCtr="0">
            <a:spAutoFit/>
          </a:bodyPr>
          <a:lstStyle>
            <a:lvl1pPr marL="285757" indent="-285757">
              <a:lnSpc>
                <a:spcPct val="130000"/>
              </a:lnSpc>
              <a:buClr>
                <a:schemeClr val="tx1"/>
              </a:buClr>
              <a:buSzPct val="100000"/>
              <a:buFont typeface="メイリオ" panose="020B0604030504040204" pitchFamily="50" charset="-128"/>
              <a:buChar char="•"/>
              <a:defRPr lang="ja-JP" altLang="en-US" sz="2000" b="0" i="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marL="257181" lvl="0" indent="-257181">
              <a:spcBef>
                <a:spcPts val="600"/>
              </a:spcBef>
              <a:spcAft>
                <a:spcPts val="600"/>
              </a:spcAft>
              <a:buClr>
                <a:srgbClr val="002060"/>
              </a:buClr>
              <a:buFont typeface="Wingdings" panose="05000000000000000000" pitchFamily="2" charset="2"/>
              <a:buChar char="l"/>
            </a:pPr>
            <a:r>
              <a:rPr kumimoji="1" lang="ja-JP" altLang="en-US" dirty="0"/>
              <a:t>キーメッセージ：</a:t>
            </a:r>
            <a:r>
              <a:rPr kumimoji="1" lang="en-US" altLang="ja-JP" dirty="0"/>
              <a:t>1</a:t>
            </a:r>
            <a:r>
              <a:rPr kumimoji="1" lang="ja-JP" altLang="en-US" dirty="0"/>
              <a:t>行以内（約</a:t>
            </a:r>
            <a:r>
              <a:rPr kumimoji="1" lang="en-US" altLang="ja-JP" dirty="0"/>
              <a:t>35</a:t>
            </a:r>
            <a:r>
              <a:rPr kumimoji="1" lang="ja-JP" altLang="en-US" dirty="0"/>
              <a:t>字）３ポツまで </a:t>
            </a:r>
            <a:r>
              <a:rPr kumimoji="1" lang="en-US" altLang="ja-JP" dirty="0"/>
              <a:t>20pt</a:t>
            </a:r>
            <a:r>
              <a:rPr kumimoji="1" lang="ja-JP" altLang="en-US" dirty="0"/>
              <a:t>　行間はいじらない</a:t>
            </a:r>
            <a:endParaRPr kumimoji="1" lang="en-US" altLang="ja-JP" dirty="0"/>
          </a:p>
        </p:txBody>
      </p:sp>
      <p:sp>
        <p:nvSpPr>
          <p:cNvPr id="7" name="テキスト プレースホルダー 6">
            <a:extLst>
              <a:ext uri="{FF2B5EF4-FFF2-40B4-BE49-F238E27FC236}">
                <a16:creationId xmlns:a16="http://schemas.microsoft.com/office/drawing/2014/main" id="{9E5CEE60-90F4-9775-0CB9-B864463E973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43017" y="3290112"/>
            <a:ext cx="5316922" cy="293721"/>
          </a:xfrm>
        </p:spPr>
        <p:txBody>
          <a:bodyPr lIns="72000" tIns="72000" rIns="72000" bIns="36000"/>
          <a:lstStyle>
            <a:lvl1pPr marL="0" indent="0">
              <a:buFont typeface="Arial" panose="020B0604020202020204" pitchFamily="34" charset="0"/>
              <a:buNone/>
              <a:defRPr sz="1200"/>
            </a:lvl1pPr>
            <a:lvl2pPr marL="344497" indent="0">
              <a:buNone/>
              <a:defRPr sz="1200"/>
            </a:lvl2pPr>
            <a:lvl3pPr marL="668354" indent="0">
              <a:buNone/>
              <a:defRPr sz="1200"/>
            </a:lvl3pPr>
            <a:lvl4pPr marL="936648" indent="0">
              <a:buNone/>
              <a:defRPr sz="1200"/>
            </a:lvl4pPr>
            <a:lvl5pPr marL="1298607" indent="0" algn="l">
              <a:buNone/>
              <a:defRPr sz="1200"/>
            </a:lvl5pPr>
          </a:lstStyle>
          <a:p>
            <a:pPr marL="171455" marR="0" lvl="0" indent="-171455" algn="l" defTabSz="91442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2060"/>
              </a:buClr>
              <a:buSzTx/>
              <a:tabLst/>
              <a:defRPr/>
            </a:pPr>
            <a:r>
              <a:rPr kumimoji="1" lang="ja-JP" altLang="en-US" dirty="0"/>
              <a:t>本文：</a:t>
            </a:r>
            <a:r>
              <a:rPr kumimoji="1" lang="en-US" altLang="ja-JP" dirty="0"/>
              <a:t>40</a:t>
            </a:r>
            <a:r>
              <a:rPr kumimoji="1" lang="ja-JP" altLang="en-US" dirty="0"/>
              <a:t>字以内 </a:t>
            </a:r>
            <a:r>
              <a:rPr kumimoji="1" lang="en-US" altLang="ja-JP" dirty="0"/>
              <a:t>12pt /</a:t>
            </a:r>
            <a:r>
              <a:rPr kumimoji="1" lang="ja-JP" altLang="en-US" dirty="0"/>
              <a:t>プレゼン用 </a:t>
            </a:r>
            <a:r>
              <a:rPr kumimoji="1" lang="en-US" altLang="ja-JP" dirty="0"/>
              <a:t>16pt</a:t>
            </a:r>
            <a:endParaRPr kumimoji="1" lang="ja-JP" altLang="en-US" dirty="0"/>
          </a:p>
        </p:txBody>
      </p:sp>
      <p:sp>
        <p:nvSpPr>
          <p:cNvPr id="10" name="テキスト プレースホルダー 9">
            <a:extLst>
              <a:ext uri="{FF2B5EF4-FFF2-40B4-BE49-F238E27FC236}">
                <a16:creationId xmlns:a16="http://schemas.microsoft.com/office/drawing/2014/main" id="{E59F7C88-40C4-3D1C-3928-583676EC176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71138" y="3290112"/>
            <a:ext cx="5316416" cy="293721"/>
          </a:xfrm>
          <a:noFill/>
        </p:spPr>
        <p:txBody>
          <a:bodyPr vert="horz" wrap="square" lIns="72000" tIns="72000" rIns="72000" bIns="36000" rtlCol="0">
            <a:spAutoFit/>
          </a:bodyPr>
          <a:lstStyle>
            <a:lvl1pPr marL="0" indent="0">
              <a:buNone/>
              <a:defRPr lang="ja-JP" altLang="en-US" sz="1200" smtClean="0"/>
            </a:lvl1pPr>
            <a:lvl2pPr>
              <a:defRPr lang="ja-JP" altLang="en-US" sz="1200" smtClean="0"/>
            </a:lvl2pPr>
            <a:lvl3pPr>
              <a:defRPr lang="ja-JP" altLang="en-US" sz="1200" smtClean="0"/>
            </a:lvl3pPr>
            <a:lvl4pPr>
              <a:defRPr lang="ja-JP" altLang="en-US" sz="1200" smtClean="0"/>
            </a:lvl4pPr>
            <a:lvl5pPr>
              <a:defRPr lang="ja-JP" altLang="en-US" sz="1200"/>
            </a:lvl5pPr>
          </a:lstStyle>
          <a:p>
            <a:pPr marL="342908" marR="0" lvl="0" indent="-342908" fontAlgn="auto">
              <a:lnSpc>
                <a:spcPct val="100000"/>
              </a:lnSpc>
              <a:buSzTx/>
              <a:tabLst/>
            </a:pPr>
            <a:r>
              <a:rPr kumimoji="1" lang="ja-JP" altLang="en-US"/>
              <a:t>本文：</a:t>
            </a:r>
            <a:r>
              <a:rPr kumimoji="1" lang="en-US" altLang="ja-JP"/>
              <a:t>40</a:t>
            </a:r>
            <a:r>
              <a:rPr kumimoji="1" lang="ja-JP" altLang="en-US"/>
              <a:t>字以内 </a:t>
            </a:r>
            <a:r>
              <a:rPr kumimoji="1" lang="en-US" altLang="ja-JP"/>
              <a:t>12pt /</a:t>
            </a:r>
            <a:r>
              <a:rPr kumimoji="1" lang="ja-JP" altLang="en-US"/>
              <a:t>プレゼン用 </a:t>
            </a:r>
            <a:r>
              <a:rPr kumimoji="1" lang="en-US" altLang="ja-JP"/>
              <a:t>16pt</a:t>
            </a:r>
            <a:endParaRPr kumimoji="1" lang="ja-JP" altLang="en-US"/>
          </a:p>
        </p:txBody>
      </p:sp>
      <p:sp>
        <p:nvSpPr>
          <p:cNvPr id="12" name="テキスト プレースホルダー 11">
            <a:extLst>
              <a:ext uri="{FF2B5EF4-FFF2-40B4-BE49-F238E27FC236}">
                <a16:creationId xmlns:a16="http://schemas.microsoft.com/office/drawing/2014/main" id="{E10F42EE-E182-F73B-ED47-4B1995A4EC2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3017" y="2712318"/>
            <a:ext cx="5316922" cy="558784"/>
          </a:xfrm>
          <a:solidFill>
            <a:schemeClr val="accent1"/>
          </a:solidFill>
        </p:spPr>
        <p:txBody>
          <a:bodyPr vert="horz" wrap="square" lIns="108000" tIns="108000" rIns="108000" bIns="72000" rtlCol="0">
            <a:spAutoFit/>
          </a:bodyPr>
          <a:lstStyle>
            <a:lvl1pPr marL="0" indent="0">
              <a:buNone/>
              <a:defRPr lang="ja-JP" altLang="en-US" b="1" dirty="0" smtClean="0">
                <a:solidFill>
                  <a:schemeClr val="bg1"/>
                </a:solidFill>
              </a:defRPr>
            </a:lvl1pPr>
            <a:lvl2pPr>
              <a:defRPr lang="ja-JP" altLang="en-US" dirty="0" smtClean="0">
                <a:solidFill>
                  <a:schemeClr val="bg1"/>
                </a:solidFill>
              </a:defRPr>
            </a:lvl2pPr>
            <a:lvl3pPr>
              <a:defRPr lang="ja-JP" altLang="en-US" dirty="0" smtClean="0">
                <a:solidFill>
                  <a:schemeClr val="bg1"/>
                </a:solidFill>
              </a:defRPr>
            </a:lvl3pPr>
            <a:lvl4pPr>
              <a:defRPr lang="ja-JP" altLang="en-US" dirty="0" smtClean="0">
                <a:solidFill>
                  <a:schemeClr val="bg1"/>
                </a:solidFill>
              </a:defRPr>
            </a:lvl4pPr>
            <a:lvl5pPr>
              <a:defRPr lang="ja-JP" altLang="en-US" dirty="0">
                <a:solidFill>
                  <a:schemeClr val="bg1"/>
                </a:solidFill>
              </a:defRPr>
            </a:lvl5pPr>
          </a:lstStyle>
          <a:p>
            <a:pPr marL="342908" marR="0" lvl="0" indent="-342908" algn="l" defTabSz="914423" rtl="0" eaLnBrk="1" fontAlgn="auto" latinLnBrk="0" hangingPunct="1">
              <a:lnSpc>
                <a:spcPct val="130000"/>
              </a:lnSpc>
              <a:spcBef>
                <a:spcPts val="600"/>
              </a:spcBef>
              <a:spcAft>
                <a:spcPts val="600"/>
              </a:spcAft>
              <a:buClr>
                <a:srgbClr val="002060"/>
              </a:buClr>
              <a:buSzTx/>
              <a:tabLst/>
              <a:defRPr/>
            </a:pPr>
            <a:r>
              <a:rPr kumimoji="1" lang="ja-JP" altLang="en-US" dirty="0"/>
              <a:t>見出し：</a:t>
            </a:r>
            <a:r>
              <a:rPr kumimoji="1" lang="en-US" altLang="ja-JP" dirty="0"/>
              <a:t>13</a:t>
            </a:r>
            <a:r>
              <a:rPr kumimoji="1" lang="ja-JP" altLang="en-US" dirty="0"/>
              <a:t>字以内 </a:t>
            </a:r>
            <a:r>
              <a:rPr kumimoji="1" lang="en-US" altLang="ja-JP" dirty="0"/>
              <a:t>16pt /</a:t>
            </a:r>
            <a:r>
              <a:rPr kumimoji="1" lang="ja-JP" altLang="en-US" dirty="0"/>
              <a:t>プレゼン用 </a:t>
            </a:r>
            <a:r>
              <a:rPr kumimoji="1" lang="en-US" altLang="ja-JP" dirty="0"/>
              <a:t>20pt</a:t>
            </a:r>
            <a:r>
              <a:rPr kumimoji="1" lang="ja-JP" altLang="en-US" dirty="0"/>
              <a:t>　</a:t>
            </a:r>
          </a:p>
        </p:txBody>
      </p:sp>
      <p:sp>
        <p:nvSpPr>
          <p:cNvPr id="14" name="テキスト プレースホルダー 13">
            <a:extLst>
              <a:ext uri="{FF2B5EF4-FFF2-40B4-BE49-F238E27FC236}">
                <a16:creationId xmlns:a16="http://schemas.microsoft.com/office/drawing/2014/main" id="{F051B484-ADEC-D7B0-A0E2-ADD29C85895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70178" y="2707268"/>
            <a:ext cx="5317376" cy="558784"/>
          </a:xfrm>
          <a:solidFill>
            <a:schemeClr val="accent1"/>
          </a:solidFill>
        </p:spPr>
        <p:txBody>
          <a:bodyPr vert="horz" wrap="square" lIns="108000" tIns="108000" rIns="108000" bIns="72000" rtlCol="0">
            <a:spAutoFit/>
          </a:bodyPr>
          <a:lstStyle>
            <a:lvl1pPr marL="0" indent="0">
              <a:buNone/>
              <a:defRPr lang="ja-JP" altLang="en-US" b="1" smtClean="0">
                <a:solidFill>
                  <a:schemeClr val="bg1"/>
                </a:solidFill>
              </a:defRPr>
            </a:lvl1pPr>
            <a:lvl2pPr>
              <a:defRPr lang="ja-JP" altLang="en-US" smtClean="0">
                <a:solidFill>
                  <a:schemeClr val="bg1"/>
                </a:solidFill>
              </a:defRPr>
            </a:lvl2pPr>
            <a:lvl3pPr>
              <a:defRPr lang="ja-JP" altLang="en-US" smtClean="0">
                <a:solidFill>
                  <a:schemeClr val="bg1"/>
                </a:solidFill>
              </a:defRPr>
            </a:lvl3pPr>
            <a:lvl4pPr>
              <a:defRPr lang="ja-JP" altLang="en-US" smtClean="0">
                <a:solidFill>
                  <a:schemeClr val="bg1"/>
                </a:solidFill>
              </a:defRPr>
            </a:lvl4pPr>
            <a:lvl5pPr>
              <a:defRPr lang="ja-JP" altLang="en-US">
                <a:solidFill>
                  <a:schemeClr val="bg1"/>
                </a:solidFill>
              </a:defRPr>
            </a:lvl5pPr>
          </a:lstStyle>
          <a:p>
            <a:pPr marL="342908" marR="0" lvl="0" indent="-342908" fontAlgn="auto">
              <a:lnSpc>
                <a:spcPct val="130000"/>
              </a:lnSpc>
              <a:buSzTx/>
              <a:tabLst/>
            </a:pPr>
            <a:r>
              <a:rPr kumimoji="1" lang="ja-JP" altLang="en-US" dirty="0"/>
              <a:t>見出し：</a:t>
            </a:r>
            <a:r>
              <a:rPr kumimoji="1" lang="en-US" altLang="ja-JP" dirty="0"/>
              <a:t>13</a:t>
            </a:r>
            <a:r>
              <a:rPr kumimoji="1" lang="ja-JP" altLang="en-US" dirty="0"/>
              <a:t>字以内 </a:t>
            </a:r>
            <a:r>
              <a:rPr kumimoji="1" lang="en-US" altLang="ja-JP" dirty="0"/>
              <a:t>16pt /</a:t>
            </a:r>
            <a:r>
              <a:rPr kumimoji="1" lang="ja-JP" altLang="en-US" dirty="0"/>
              <a:t>プレゼン用 </a:t>
            </a:r>
            <a:r>
              <a:rPr kumimoji="1" lang="en-US" altLang="ja-JP" dirty="0"/>
              <a:t>20pt</a:t>
            </a:r>
            <a:endParaRPr kumimoji="1" lang="ja-JP" altLang="en-US" dirty="0"/>
          </a:p>
        </p:txBody>
      </p:sp>
      <p:pic>
        <p:nvPicPr>
          <p:cNvPr id="4" name="図 3" descr="アイコン&#10;&#10;AI によって生成されたコンテンツは間違っている可能性があります。">
            <a:extLst>
              <a:ext uri="{FF2B5EF4-FFF2-40B4-BE49-F238E27FC236}">
                <a16:creationId xmlns:a16="http://schemas.microsoft.com/office/drawing/2014/main" id="{B43BC321-6672-6DB2-E983-78BE2D52040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56" y="6014844"/>
            <a:ext cx="819208" cy="836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37396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 userDrawn="1">
          <p15:clr>
            <a:srgbClr val="FBAE40"/>
          </p15:clr>
        </p15:guide>
        <p15:guide id="7" pos="268" userDrawn="1">
          <p15:clr>
            <a:srgbClr val="FBAE40"/>
          </p15:clr>
        </p15:guide>
        <p15:guide id="10" pos="7412" userDrawn="1">
          <p15:clr>
            <a:srgbClr val="FBAE40"/>
          </p15:clr>
        </p15:guide>
        <p15:guide id="13" orient="horz" pos="4065" userDrawn="1">
          <p15:clr>
            <a:srgbClr val="FBAE40"/>
          </p15:clr>
        </p15:guide>
        <p15:guide id="14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Basic（essay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テキスト プレースホルダー 11">
            <a:extLst>
              <a:ext uri="{FF2B5EF4-FFF2-40B4-BE49-F238E27FC236}">
                <a16:creationId xmlns:a16="http://schemas.microsoft.com/office/drawing/2014/main" id="{C145B5D5-4B5E-6D2D-BAD5-72DE5A197CE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36775" y="3378480"/>
            <a:ext cx="11305845" cy="293721"/>
          </a:xfrm>
          <a:noFill/>
        </p:spPr>
        <p:txBody>
          <a:bodyPr vert="horz" wrap="square" lIns="72000" tIns="72000" rIns="72000" bIns="36000" rtlCol="0">
            <a:spAutoFit/>
          </a:bodyPr>
          <a:lstStyle>
            <a:lvl1pPr marL="0" indent="0">
              <a:buFont typeface="Arial" panose="020B0604020202020204" pitchFamily="34" charset="0"/>
              <a:buNone/>
              <a:defRPr lang="ja-JP" altLang="en-US" sz="1200" b="1" smtClean="0">
                <a:latin typeface="+mn-ea"/>
                <a:ea typeface="+mn-ea"/>
              </a:defRPr>
            </a:lvl1pPr>
            <a:lvl2pPr>
              <a:defRPr lang="ja-JP" altLang="en-US" sz="1200" smtClean="0">
                <a:latin typeface="+mn-ea"/>
                <a:ea typeface="+mn-ea"/>
              </a:defRPr>
            </a:lvl2pPr>
            <a:lvl3pPr>
              <a:defRPr lang="ja-JP" altLang="en-US" sz="1200" smtClean="0">
                <a:latin typeface="+mn-ea"/>
                <a:ea typeface="+mn-ea"/>
              </a:defRPr>
            </a:lvl3pPr>
            <a:lvl4pPr>
              <a:defRPr lang="ja-JP" altLang="en-US" sz="1200" smtClean="0">
                <a:latin typeface="+mn-ea"/>
                <a:ea typeface="+mn-ea"/>
              </a:defRPr>
            </a:lvl4pPr>
            <a:lvl5pPr>
              <a:defRPr lang="ja-JP" altLang="en-US" sz="1200">
                <a:latin typeface="+mn-ea"/>
                <a:ea typeface="+mn-ea"/>
              </a:defRPr>
            </a:lvl5pPr>
          </a:lstStyle>
          <a:p>
            <a:pPr lvl="0"/>
            <a:r>
              <a:rPr kumimoji="1" lang="ja-JP" altLang="en-US" dirty="0"/>
              <a:t>強調箇所は太字</a:t>
            </a:r>
            <a:endParaRPr kumimoji="1" lang="en-US" altLang="ja-JP" dirty="0"/>
          </a:p>
        </p:txBody>
      </p:sp>
      <p:sp>
        <p:nvSpPr>
          <p:cNvPr id="10" name="テキスト プレースホルダー 9">
            <a:extLst>
              <a:ext uri="{FF2B5EF4-FFF2-40B4-BE49-F238E27FC236}">
                <a16:creationId xmlns:a16="http://schemas.microsoft.com/office/drawing/2014/main" id="{7C26272D-E711-7BDA-C6B1-F6E5FC5BB95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7662" y="1808201"/>
            <a:ext cx="11304954" cy="1452591"/>
          </a:xfrm>
          <a:noFill/>
        </p:spPr>
        <p:txBody>
          <a:bodyPr vert="horz" wrap="square" lIns="72000" tIns="72000" rIns="72000" bIns="36000" rtlCol="0">
            <a:noAutofit/>
          </a:bodyPr>
          <a:lstStyle>
            <a:lvl1pPr marL="0" indent="0">
              <a:buNone/>
              <a:defRPr lang="ja-JP" altLang="en-US" sz="1600" dirty="0" smtClean="0">
                <a:latin typeface="+mj-ea"/>
                <a:ea typeface="+mj-ea"/>
              </a:defRPr>
            </a:lvl1pPr>
            <a:lvl2pPr>
              <a:defRPr lang="ja-JP" altLang="en-US" sz="1200" dirty="0" smtClean="0">
                <a:latin typeface="+mj-ea"/>
                <a:ea typeface="+mj-ea"/>
              </a:defRPr>
            </a:lvl2pPr>
            <a:lvl3pPr>
              <a:defRPr lang="ja-JP" altLang="en-US" sz="1200" dirty="0" smtClean="0">
                <a:latin typeface="+mj-ea"/>
                <a:ea typeface="+mj-ea"/>
              </a:defRPr>
            </a:lvl3pPr>
            <a:lvl4pPr>
              <a:defRPr lang="ja-JP" altLang="en-US" sz="1200" dirty="0" smtClean="0">
                <a:latin typeface="+mj-ea"/>
                <a:ea typeface="+mj-ea"/>
              </a:defRPr>
            </a:lvl4pPr>
            <a:lvl5pPr>
              <a:defRPr lang="ja-JP" altLang="en-US" sz="1200" dirty="0">
                <a:latin typeface="+mj-ea"/>
                <a:ea typeface="+mj-ea"/>
              </a:defRPr>
            </a:lvl5pPr>
          </a:lstStyle>
          <a:p>
            <a:pPr marL="342908" marR="0" lvl="0" indent="-342908" algn="l" defTabSz="914423" rtl="0" eaLnBrk="1" fontAlgn="auto" latinLnBrk="0" hangingPunct="1">
              <a:lnSpc>
                <a:spcPct val="130000"/>
              </a:lnSpc>
              <a:spcBef>
                <a:spcPts val="600"/>
              </a:spcBef>
              <a:spcAft>
                <a:spcPts val="600"/>
              </a:spcAft>
              <a:buClr>
                <a:srgbClr val="002060"/>
              </a:buClr>
              <a:buSzTx/>
              <a:tabLst/>
              <a:defRPr/>
            </a:pPr>
            <a:r>
              <a:rPr kumimoji="1" lang="ja-JP" altLang="en-US" dirty="0"/>
              <a:t>本文：</a:t>
            </a:r>
            <a:r>
              <a:rPr kumimoji="1" lang="en-US" altLang="ja-JP" dirty="0"/>
              <a:t>40</a:t>
            </a:r>
            <a:r>
              <a:rPr kumimoji="1" lang="ja-JP" altLang="en-US" dirty="0"/>
              <a:t>字以内 </a:t>
            </a:r>
            <a:r>
              <a:rPr kumimoji="1" lang="en-US" altLang="ja-JP" dirty="0"/>
              <a:t>16pt /</a:t>
            </a:r>
            <a:r>
              <a:rPr kumimoji="1" lang="ja-JP" altLang="en-US" dirty="0"/>
              <a:t>プレゼン用 </a:t>
            </a:r>
            <a:r>
              <a:rPr kumimoji="1" lang="en-US" altLang="ja-JP" dirty="0"/>
              <a:t>16pt</a:t>
            </a:r>
            <a:r>
              <a:rPr kumimoji="1" lang="ja-JP" altLang="en-US" dirty="0"/>
              <a:t>　詳細はこの大きさで記載　</a:t>
            </a:r>
            <a:endParaRPr kumimoji="1" lang="en-US" altLang="ja-JP" dirty="0"/>
          </a:p>
        </p:txBody>
      </p:sp>
      <p:sp>
        <p:nvSpPr>
          <p:cNvPr id="6" name="テキスト プレースホルダー 5">
            <a:extLst>
              <a:ext uri="{FF2B5EF4-FFF2-40B4-BE49-F238E27FC236}">
                <a16:creationId xmlns:a16="http://schemas.microsoft.com/office/drawing/2014/main" id="{34F52397-F9BC-CBFD-BF51-54DD7A02B4D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7666" y="1160415"/>
            <a:ext cx="5318369" cy="558784"/>
          </a:xfrm>
          <a:solidFill>
            <a:schemeClr val="accent1"/>
          </a:solidFill>
        </p:spPr>
        <p:txBody>
          <a:bodyPr vert="horz" wrap="square" lIns="108000" tIns="108000" rIns="108000" bIns="72000" rtlCol="0">
            <a:spAutoFit/>
          </a:bodyPr>
          <a:lstStyle>
            <a:lvl1pPr marL="0" indent="0">
              <a:buNone/>
              <a:defRPr lang="ja-JP" altLang="en-US" b="1" smtClean="0">
                <a:solidFill>
                  <a:schemeClr val="bg1"/>
                </a:solidFill>
              </a:defRPr>
            </a:lvl1pPr>
            <a:lvl2pPr>
              <a:defRPr lang="ja-JP" altLang="en-US" smtClean="0">
                <a:solidFill>
                  <a:schemeClr val="bg1"/>
                </a:solidFill>
              </a:defRPr>
            </a:lvl2pPr>
            <a:lvl3pPr>
              <a:defRPr lang="ja-JP" altLang="en-US" smtClean="0">
                <a:solidFill>
                  <a:schemeClr val="bg1"/>
                </a:solidFill>
              </a:defRPr>
            </a:lvl3pPr>
            <a:lvl4pPr>
              <a:defRPr lang="ja-JP" altLang="en-US" smtClean="0">
                <a:solidFill>
                  <a:schemeClr val="bg1"/>
                </a:solidFill>
              </a:defRPr>
            </a:lvl4pPr>
            <a:lvl5pPr>
              <a:defRPr lang="ja-JP" altLang="en-US">
                <a:solidFill>
                  <a:schemeClr val="bg1"/>
                </a:solidFill>
              </a:defRPr>
            </a:lvl5pPr>
          </a:lstStyle>
          <a:p>
            <a:pPr marL="342908" marR="0" lvl="0" indent="-342908" algn="l" defTabSz="914423" rtl="0" eaLnBrk="1" fontAlgn="auto" latinLnBrk="0" hangingPunct="1">
              <a:lnSpc>
                <a:spcPct val="130000"/>
              </a:lnSpc>
              <a:spcBef>
                <a:spcPts val="600"/>
              </a:spcBef>
              <a:spcAft>
                <a:spcPts val="600"/>
              </a:spcAft>
              <a:buClr>
                <a:srgbClr val="002060"/>
              </a:buClr>
              <a:buSzTx/>
              <a:tabLst/>
              <a:defRPr/>
            </a:pPr>
            <a:r>
              <a:rPr kumimoji="1" lang="ja-JP" altLang="en-US" dirty="0"/>
              <a:t>見出し：</a:t>
            </a:r>
            <a:r>
              <a:rPr kumimoji="1" lang="en-US" altLang="ja-JP" dirty="0"/>
              <a:t>13</a:t>
            </a:r>
            <a:r>
              <a:rPr kumimoji="1" lang="ja-JP" altLang="en-US" dirty="0"/>
              <a:t>字以内 </a:t>
            </a:r>
            <a:r>
              <a:rPr kumimoji="1" lang="en-US" altLang="ja-JP" dirty="0"/>
              <a:t>16pt /</a:t>
            </a:r>
            <a:r>
              <a:rPr kumimoji="1" lang="ja-JP" altLang="en-US" dirty="0"/>
              <a:t>プレゼン用 </a:t>
            </a:r>
            <a:r>
              <a:rPr kumimoji="1" lang="en-US" altLang="ja-JP" dirty="0"/>
              <a:t>20pt</a:t>
            </a:r>
            <a:r>
              <a:rPr kumimoji="1" lang="ja-JP" altLang="en-US" dirty="0"/>
              <a:t>　</a:t>
            </a:r>
          </a:p>
        </p:txBody>
      </p:sp>
      <p:sp>
        <p:nvSpPr>
          <p:cNvPr id="45" name="スライド番号プレースホルダー 4">
            <a:extLst>
              <a:ext uri="{FF2B5EF4-FFF2-40B4-BE49-F238E27FC236}">
                <a16:creationId xmlns:a16="http://schemas.microsoft.com/office/drawing/2014/main" id="{7F8B39E5-E5C4-1549-647B-B2CE8575CB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69169" y="6433200"/>
            <a:ext cx="522831" cy="424800"/>
          </a:xfrm>
          <a:prstGeom prst="rect">
            <a:avLst/>
          </a:prstGeom>
          <a:noFill/>
        </p:spPr>
        <p:txBody>
          <a:bodyPr lIns="0" tIns="0" rIns="144000" bIns="144000"/>
          <a:lstStyle>
            <a:lvl1pPr algn="r">
              <a:defRPr sz="1400" b="0" i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Arial" panose="020B0604020202020204" pitchFamily="34" charset="0"/>
              </a:defRPr>
            </a:lvl1pPr>
          </a:lstStyle>
          <a:p>
            <a:fld id="{D9550142-B990-490A-A107-ED7302A7FD52}" type="slidenum">
              <a:rPr lang="en-US" altLang="ja-JP" smtClean="0"/>
              <a:pPr/>
              <a:t>‹#›</a:t>
            </a:fld>
            <a:endParaRPr lang="en-US"/>
          </a:p>
        </p:txBody>
      </p:sp>
      <p:sp>
        <p:nvSpPr>
          <p:cNvPr id="50" name="タイトル 1">
            <a:extLst>
              <a:ext uri="{FF2B5EF4-FFF2-40B4-BE49-F238E27FC236}">
                <a16:creationId xmlns:a16="http://schemas.microsoft.com/office/drawing/2014/main" id="{CA219888-D0B6-F250-7902-1434DE0CF4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074" y="366716"/>
            <a:ext cx="11305842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lang="ja-JP" altLang="en-US" sz="3200" b="1" i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marL="0" lvl="0" algn="l"/>
            <a:r>
              <a:rPr kumimoji="1" lang="ja-JP" altLang="en-US" dirty="0"/>
              <a:t>スライドタイトル：</a:t>
            </a:r>
            <a:r>
              <a:rPr kumimoji="1" lang="en-US" altLang="ja-JP" dirty="0"/>
              <a:t>13</a:t>
            </a:r>
            <a:r>
              <a:rPr kumimoji="1" lang="ja-JP" altLang="en-US" dirty="0"/>
              <a:t>字以内 </a:t>
            </a:r>
            <a:r>
              <a:rPr kumimoji="1" lang="en-US" altLang="ja-JP" dirty="0"/>
              <a:t>32pt</a:t>
            </a:r>
            <a:endParaRPr kumimoji="1" lang="ja-JP" altLang="en-US" dirty="0"/>
          </a:p>
        </p:txBody>
      </p:sp>
      <p:sp>
        <p:nvSpPr>
          <p:cNvPr id="51" name="テキスト プレースホルダー 9">
            <a:extLst>
              <a:ext uri="{FF2B5EF4-FFF2-40B4-BE49-F238E27FC236}">
                <a16:creationId xmlns:a16="http://schemas.microsoft.com/office/drawing/2014/main" id="{4894F5FE-60A5-361A-5A8D-0D265407E8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2210" y="6522127"/>
            <a:ext cx="9556278" cy="123111"/>
          </a:xfrm>
          <a:noFill/>
        </p:spPr>
        <p:txBody>
          <a:bodyPr wrap="square" lIns="0" tIns="0" rIns="0" bIns="0" anchor="ctr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 i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出典先：</a:t>
            </a:r>
            <a:r>
              <a:rPr kumimoji="1" lang="en-US" altLang="ja-JP"/>
              <a:t>8pt</a:t>
            </a:r>
          </a:p>
        </p:txBody>
      </p:sp>
      <p:pic>
        <p:nvPicPr>
          <p:cNvPr id="2" name="図 1" descr="アイコン&#10;&#10;AI によって生成されたコンテンツは間違っている可能性があります。">
            <a:extLst>
              <a:ext uri="{FF2B5EF4-FFF2-40B4-BE49-F238E27FC236}">
                <a16:creationId xmlns:a16="http://schemas.microsoft.com/office/drawing/2014/main" id="{7CB438CD-12AD-7F1C-09EC-B8FF0D1E55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56" y="6014844"/>
            <a:ext cx="819208" cy="836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91471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 userDrawn="1">
          <p15:clr>
            <a:srgbClr val="FBAE40"/>
          </p15:clr>
        </p15:guide>
        <p15:guide id="7" pos="249" userDrawn="1">
          <p15:clr>
            <a:srgbClr val="FBAE40"/>
          </p15:clr>
        </p15:guide>
        <p15:guide id="10" pos="7393" userDrawn="1">
          <p15:clr>
            <a:srgbClr val="FBAE40"/>
          </p15:clr>
        </p15:guide>
        <p15:guide id="13" orient="horz" pos="4050" userDrawn="1">
          <p15:clr>
            <a:srgbClr val="FBAE40"/>
          </p15:clr>
        </p15:guide>
        <p15:guide id="14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ユーザー設定レイアウ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684CFBF0-63BB-BA24-668B-7AB6C5F7C14A}"/>
              </a:ext>
            </a:extLst>
          </p:cNvPr>
          <p:cNvSpPr/>
          <p:nvPr userDrawn="1"/>
        </p:nvSpPr>
        <p:spPr>
          <a:xfrm>
            <a:off x="0" y="0"/>
            <a:ext cx="3095626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AD163816-A505-9D0F-D155-41FBE22ECBD4}"/>
              </a:ext>
            </a:extLst>
          </p:cNvPr>
          <p:cNvSpPr/>
          <p:nvPr userDrawn="1"/>
        </p:nvSpPr>
        <p:spPr>
          <a:xfrm>
            <a:off x="16388" y="-4497"/>
            <a:ext cx="12192000" cy="5878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105A2A24-3FE5-5016-1F36-BEAC5A4BF832}"/>
              </a:ext>
            </a:extLst>
          </p:cNvPr>
          <p:cNvSpPr/>
          <p:nvPr userDrawn="1"/>
        </p:nvSpPr>
        <p:spPr bwMode="auto">
          <a:xfrm>
            <a:off x="0" y="0"/>
            <a:ext cx="3095626" cy="58477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rtlCol="0" anchor="ctr"/>
          <a:lstStyle/>
          <a:p>
            <a:pPr algn="l"/>
            <a:endParaRPr kumimoji="0" lang="ja-JP" altLang="en-US" sz="1200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pic>
        <p:nvPicPr>
          <p:cNvPr id="10" name="図 9" descr="黒い背景に白い文字がある&#10;&#10;AI によって生成されたコンテンツは間違っている可能性があります。">
            <a:extLst>
              <a:ext uri="{FF2B5EF4-FFF2-40B4-BE49-F238E27FC236}">
                <a16:creationId xmlns:a16="http://schemas.microsoft.com/office/drawing/2014/main" id="{855319B5-FA92-4B5F-D8E5-CF700E7944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336" y="1802"/>
            <a:ext cx="2639615" cy="545022"/>
          </a:xfrm>
          <a:prstGeom prst="rect">
            <a:avLst/>
          </a:prstGeom>
        </p:spPr>
      </p:pic>
      <p:sp>
        <p:nvSpPr>
          <p:cNvPr id="39" name="タイトル 1">
            <a:extLst>
              <a:ext uri="{FF2B5EF4-FFF2-40B4-BE49-F238E27FC236}">
                <a16:creationId xmlns:a16="http://schemas.microsoft.com/office/drawing/2014/main" id="{956C1A84-1F1A-339B-395F-8728C647B2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98574" y="58954"/>
            <a:ext cx="8874090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lang="ja-JP" altLang="en-US" sz="3200" b="1" i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marL="0" lvl="0" algn="l"/>
            <a:r>
              <a:rPr kumimoji="1" lang="ja-JP" altLang="en-US" dirty="0"/>
              <a:t>スライドタイトル：</a:t>
            </a:r>
            <a:r>
              <a:rPr kumimoji="1" lang="en-US" altLang="ja-JP" dirty="0"/>
              <a:t>13</a:t>
            </a:r>
            <a:r>
              <a:rPr kumimoji="1" lang="ja-JP" altLang="en-US" dirty="0"/>
              <a:t>字以内 </a:t>
            </a:r>
            <a:r>
              <a:rPr kumimoji="1" lang="en-US" altLang="ja-JP" dirty="0"/>
              <a:t>32pt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2126387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ユーザー設定レイアウ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スライド番号プレースホルダー 2">
            <a:extLst>
              <a:ext uri="{FF2B5EF4-FFF2-40B4-BE49-F238E27FC236}">
                <a16:creationId xmlns:a16="http://schemas.microsoft.com/office/drawing/2014/main" id="{E6A57836-1A98-70BF-0BE4-283F5CEC0BF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550142-B990-490A-A107-ED7302A7FD52}" type="slidenum">
              <a:rPr lang="en-US" altLang="ja-JP" smtClean="0"/>
              <a:pPr/>
              <a:t>‹#›</a:t>
            </a:fld>
            <a:endParaRPr lang="en-US" altLang="ja-JP" dirty="0"/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D5D15ED1-921A-EB0E-CDB5-BADF7ED05470}"/>
              </a:ext>
            </a:extLst>
          </p:cNvPr>
          <p:cNvSpPr/>
          <p:nvPr userDrawn="1"/>
        </p:nvSpPr>
        <p:spPr>
          <a:xfrm>
            <a:off x="0" y="1"/>
            <a:ext cx="12192000" cy="5878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9971F978-5F40-7E93-7AEE-7E815EDDE258}"/>
              </a:ext>
            </a:extLst>
          </p:cNvPr>
          <p:cNvSpPr/>
          <p:nvPr userDrawn="1"/>
        </p:nvSpPr>
        <p:spPr bwMode="auto">
          <a:xfrm>
            <a:off x="9985092" y="0"/>
            <a:ext cx="2199491" cy="58477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rtlCol="0" anchor="ctr"/>
          <a:lstStyle/>
          <a:p>
            <a:pPr algn="l"/>
            <a:endParaRPr kumimoji="0" lang="ja-JP" altLang="en-US" sz="1200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pic>
        <p:nvPicPr>
          <p:cNvPr id="7" name="図 6" descr="黒い背景に白い文字がある&#10;&#10;AI によって生成されたコンテンツは間違っている可能性があります。">
            <a:extLst>
              <a:ext uri="{FF2B5EF4-FFF2-40B4-BE49-F238E27FC236}">
                <a16:creationId xmlns:a16="http://schemas.microsoft.com/office/drawing/2014/main" id="{6A8CF690-334C-D2E2-5AC2-305F59C092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5092" y="52252"/>
            <a:ext cx="2199491" cy="454146"/>
          </a:xfrm>
          <a:prstGeom prst="rect">
            <a:avLst/>
          </a:prstGeom>
        </p:spPr>
      </p:pic>
      <p:sp>
        <p:nvSpPr>
          <p:cNvPr id="8" name="タイトル 1">
            <a:extLst>
              <a:ext uri="{FF2B5EF4-FFF2-40B4-BE49-F238E27FC236}">
                <a16:creationId xmlns:a16="http://schemas.microsoft.com/office/drawing/2014/main" id="{A701BA58-211A-14CE-46D7-434D568243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9636" y="52252"/>
            <a:ext cx="8874090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lang="ja-JP" altLang="en-US" sz="3200" b="1" i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marL="0" lvl="0" algn="l"/>
            <a:r>
              <a:rPr kumimoji="1" lang="ja-JP" altLang="en-US" dirty="0"/>
              <a:t>スライドタイトル：</a:t>
            </a:r>
            <a:r>
              <a:rPr kumimoji="1" lang="en-US" altLang="ja-JP" dirty="0"/>
              <a:t>13</a:t>
            </a:r>
            <a:r>
              <a:rPr kumimoji="1" lang="ja-JP" altLang="en-US" dirty="0"/>
              <a:t>字以内 </a:t>
            </a:r>
            <a:r>
              <a:rPr kumimoji="1" lang="en-US" altLang="ja-JP" dirty="0"/>
              <a:t>32pt</a:t>
            </a:r>
            <a:endParaRPr kumimoji="1" lang="ja-JP" altLang="en-US" dirty="0"/>
          </a:p>
        </p:txBody>
      </p:sp>
      <p:sp>
        <p:nvSpPr>
          <p:cNvPr id="9" name="テキスト プレースホルダー 9">
            <a:extLst>
              <a:ext uri="{FF2B5EF4-FFF2-40B4-BE49-F238E27FC236}">
                <a16:creationId xmlns:a16="http://schemas.microsoft.com/office/drawing/2014/main" id="{42BB2BCE-7296-CB0E-988E-4391671E9C7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43523" y="793788"/>
            <a:ext cx="11304954" cy="1452591"/>
          </a:xfrm>
          <a:noFill/>
        </p:spPr>
        <p:txBody>
          <a:bodyPr vert="horz" wrap="square" lIns="72000" tIns="72000" rIns="72000" bIns="36000" rtlCol="0">
            <a:noAutofit/>
          </a:bodyPr>
          <a:lstStyle>
            <a:lvl1pPr marL="0" indent="0">
              <a:buNone/>
              <a:defRPr lang="ja-JP" altLang="en-US" sz="1600" dirty="0" smtClean="0">
                <a:latin typeface="+mj-ea"/>
                <a:ea typeface="+mj-ea"/>
              </a:defRPr>
            </a:lvl1pPr>
            <a:lvl2pPr>
              <a:defRPr lang="ja-JP" altLang="en-US" sz="1200" dirty="0" smtClean="0">
                <a:latin typeface="+mj-ea"/>
                <a:ea typeface="+mj-ea"/>
              </a:defRPr>
            </a:lvl2pPr>
            <a:lvl3pPr>
              <a:defRPr lang="ja-JP" altLang="en-US" sz="1200" dirty="0" smtClean="0">
                <a:latin typeface="+mj-ea"/>
                <a:ea typeface="+mj-ea"/>
              </a:defRPr>
            </a:lvl3pPr>
            <a:lvl4pPr>
              <a:defRPr lang="ja-JP" altLang="en-US" sz="1200" dirty="0" smtClean="0">
                <a:latin typeface="+mj-ea"/>
                <a:ea typeface="+mj-ea"/>
              </a:defRPr>
            </a:lvl4pPr>
            <a:lvl5pPr>
              <a:defRPr lang="ja-JP" altLang="en-US" sz="1200" dirty="0">
                <a:latin typeface="+mj-ea"/>
                <a:ea typeface="+mj-ea"/>
              </a:defRPr>
            </a:lvl5pPr>
          </a:lstStyle>
          <a:p>
            <a:pPr marL="342908" marR="0" lvl="0" indent="-342908" algn="l" defTabSz="914423" rtl="0" eaLnBrk="1" fontAlgn="auto" latinLnBrk="0" hangingPunct="1">
              <a:lnSpc>
                <a:spcPct val="130000"/>
              </a:lnSpc>
              <a:spcBef>
                <a:spcPts val="600"/>
              </a:spcBef>
              <a:spcAft>
                <a:spcPts val="600"/>
              </a:spcAft>
              <a:buClr>
                <a:srgbClr val="002060"/>
              </a:buClr>
              <a:buSzTx/>
              <a:tabLst/>
              <a:defRPr/>
            </a:pPr>
            <a:r>
              <a:rPr kumimoji="1" lang="ja-JP" altLang="en-US" dirty="0"/>
              <a:t>本文：</a:t>
            </a:r>
            <a:r>
              <a:rPr kumimoji="1" lang="en-US" altLang="ja-JP" dirty="0"/>
              <a:t>40</a:t>
            </a:r>
            <a:r>
              <a:rPr kumimoji="1" lang="ja-JP" altLang="en-US" dirty="0"/>
              <a:t>字以内 </a:t>
            </a:r>
            <a:r>
              <a:rPr kumimoji="1" lang="en-US" altLang="ja-JP" dirty="0"/>
              <a:t>16pt /</a:t>
            </a:r>
            <a:r>
              <a:rPr kumimoji="1" lang="ja-JP" altLang="en-US" dirty="0"/>
              <a:t>プレゼン用 </a:t>
            </a:r>
            <a:r>
              <a:rPr kumimoji="1" lang="en-US" altLang="ja-JP" dirty="0"/>
              <a:t>16pt</a:t>
            </a:r>
            <a:r>
              <a:rPr kumimoji="1" lang="ja-JP" altLang="en-US" dirty="0"/>
              <a:t>　詳細はこの大きさで記載　</a:t>
            </a:r>
            <a:endParaRPr kumimoji="1"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6010442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>
          <a:xfrm>
            <a:off x="1715003" y="1520788"/>
            <a:ext cx="9137217" cy="646331"/>
          </a:xfrm>
        </p:spPr>
        <p:txBody>
          <a:bodyPr wrap="square" anchor="t" anchorCtr="0">
            <a:spAutoFit/>
          </a:bodyPr>
          <a:lstStyle>
            <a:lvl1pPr algn="l">
              <a:defRPr lang="ja-JP" altLang="en-US" sz="3600" b="1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marL="0" lvl="0" algn="l"/>
            <a:r>
              <a:rPr kumimoji="1" lang="ja-JP" altLang="en-US"/>
              <a:t>１．見出しの記入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7879AE-A7DA-4F19-9CA2-4F3938536455}" type="datetime1">
              <a:rPr kumimoji="1" lang="ja-JP" altLang="en-US" smtClean="0"/>
              <a:t>2025/4/18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550142-B990-490A-A107-ED7302A7FD5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5225677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513E546-A282-441F-CEB2-9E6C0AC4E3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475007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11" imgW="404" imgH="405" progId="TCLayout.ActiveDocument.1">
                  <p:embed/>
                </p:oleObj>
              </mc:Choice>
              <mc:Fallback>
                <p:oleObj name="think-cellスライド" r:id="rId11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13E546-A282-441F-CEB2-9E6C0AC4E3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443078" y="343154"/>
            <a:ext cx="11431385" cy="5847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443078" y="1340773"/>
            <a:ext cx="11431385" cy="2067847"/>
          </a:xfrm>
          <a:prstGeom prst="rect">
            <a:avLst/>
          </a:prstGeom>
          <a:noFill/>
        </p:spPr>
        <p:txBody>
          <a:bodyPr vert="horz" wrap="square" lIns="216000" tIns="108000" rIns="216000" bIns="108000" rtlCol="0">
            <a:sp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3"/>
            <a:r>
              <a:rPr kumimoji="1" lang="ja-JP" altLang="en-US" dirty="0"/>
              <a:t>第４レベル</a:t>
            </a:r>
            <a:endParaRPr kumimoji="1" lang="en-US" altLang="ja-JP" dirty="0"/>
          </a:p>
          <a:p>
            <a:pPr lvl="4"/>
            <a:r>
              <a:rPr kumimoji="1" lang="ja-JP" altLang="en-US" dirty="0"/>
              <a:t>第５レベル</a:t>
            </a:r>
            <a:endParaRPr kumimoji="1" lang="en-US" altLang="ja-JP" dirty="0"/>
          </a:p>
        </p:txBody>
      </p:sp>
      <p:sp>
        <p:nvSpPr>
          <p:cNvPr id="8" name="スライド番号プレースホルダー 4">
            <a:extLst>
              <a:ext uri="{FF2B5EF4-FFF2-40B4-BE49-F238E27FC236}">
                <a16:creationId xmlns:a16="http://schemas.microsoft.com/office/drawing/2014/main" id="{162C5DDE-FFB5-076B-4D7A-92D4A63EFF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68515" y="6429024"/>
            <a:ext cx="523489" cy="424800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/>
          <a:lstStyle>
            <a:lvl1pPr algn="ctr">
              <a:defRPr kumimoji="0" lang="ja-JP" altLang="en-US" sz="1400" b="0" i="0" smtClean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1pPr>
          </a:lstStyle>
          <a:p>
            <a:fld id="{D9550142-B990-490A-A107-ED7302A7FD52}" type="slidenum">
              <a:rPr lang="en-US" altLang="ja-JP" smtClean="0"/>
              <a:pPr/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712574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79" r:id="rId2"/>
    <p:sldLayoutId id="2147483676" r:id="rId3"/>
    <p:sldLayoutId id="2147483681" r:id="rId4"/>
    <p:sldLayoutId id="2147483697" r:id="rId5"/>
    <p:sldLayoutId id="2147483698" r:id="rId6"/>
    <p:sldLayoutId id="2147483699" r:id="rId7"/>
    <p:sldLayoutId id="2147483700" r:id="rId8"/>
  </p:sldLayoutIdLst>
  <p:hf hdr="0" ftr="0" dt="0"/>
  <p:txStyles>
    <p:titleStyle>
      <a:lvl1pPr algn="l" defTabSz="914423" rtl="0" eaLnBrk="1" latinLnBrk="0" hangingPunct="1">
        <a:spcBef>
          <a:spcPct val="0"/>
        </a:spcBef>
        <a:buNone/>
        <a:defRPr kumimoji="1" sz="3200" b="1" i="0" kern="1200">
          <a:solidFill>
            <a:schemeClr val="tx1"/>
          </a:solidFill>
          <a:latin typeface="メイリオ" panose="020B0604030504040204" pitchFamily="50" charset="-128"/>
          <a:ea typeface="メイリオ" panose="020B0604030504040204" pitchFamily="50" charset="-128"/>
          <a:cs typeface="メイリオ" panose="020B0604030504040204" pitchFamily="50" charset="-128"/>
        </a:defRPr>
      </a:lvl1pPr>
    </p:titleStyle>
    <p:bodyStyle>
      <a:lvl1pPr marL="0" indent="0" algn="l" defTabSz="914423" rtl="0" eaLnBrk="1" latinLnBrk="0" hangingPunct="1">
        <a:spcBef>
          <a:spcPts val="600"/>
        </a:spcBef>
        <a:spcAft>
          <a:spcPts val="600"/>
        </a:spcAft>
        <a:buClr>
          <a:srgbClr val="002060"/>
        </a:buClr>
        <a:buFont typeface="Arial" panose="020B0604020202020204" pitchFamily="34" charset="0"/>
        <a:buNone/>
        <a:defRPr kumimoji="1" sz="2000" b="0" i="0" kern="1200">
          <a:solidFill>
            <a:schemeClr val="tx1"/>
          </a:solidFill>
          <a:latin typeface="+mj-ea"/>
          <a:ea typeface="+mj-ea"/>
          <a:cs typeface="メイリオ" panose="020B0604030504040204" pitchFamily="50" charset="-128"/>
        </a:defRPr>
      </a:lvl1pPr>
      <a:lvl2pPr marL="630254" indent="-285757" algn="l" defTabSz="914423" rtl="0" eaLnBrk="1" latinLnBrk="0" hangingPunct="1">
        <a:spcBef>
          <a:spcPts val="600"/>
        </a:spcBef>
        <a:spcAft>
          <a:spcPts val="600"/>
        </a:spcAft>
        <a:buFont typeface="メイリオ" panose="020B0604030504040204" pitchFamily="50" charset="-128"/>
        <a:buChar char="◦"/>
        <a:defRPr kumimoji="1" sz="1600" b="0" i="0" kern="1200">
          <a:solidFill>
            <a:schemeClr val="tx1"/>
          </a:solidFill>
          <a:latin typeface="+mj-ea"/>
          <a:ea typeface="+mj-ea"/>
          <a:cs typeface="メイリオ" panose="020B0604030504040204" pitchFamily="50" charset="-128"/>
        </a:defRPr>
      </a:lvl2pPr>
      <a:lvl3pPr marL="896960" indent="-228606" algn="l" defTabSz="914423" rtl="0" eaLnBrk="1" latinLnBrk="0" hangingPunct="1">
        <a:spcBef>
          <a:spcPts val="600"/>
        </a:spcBef>
        <a:spcAft>
          <a:spcPts val="600"/>
        </a:spcAft>
        <a:buFont typeface="メイリオ" panose="020B0604030504040204" pitchFamily="50" charset="-128"/>
        <a:buChar char="‒"/>
        <a:defRPr kumimoji="1" sz="1600" b="0" i="0" kern="1200">
          <a:solidFill>
            <a:schemeClr val="tx1"/>
          </a:solidFill>
          <a:latin typeface="+mj-ea"/>
          <a:ea typeface="+mj-ea"/>
          <a:cs typeface="メイリオ" panose="020B0604030504040204" pitchFamily="50" charset="-128"/>
        </a:defRPr>
      </a:lvl3pPr>
      <a:lvl4pPr marL="1165254" indent="-228606" algn="l" defTabSz="914423" rtl="0" eaLnBrk="1" latinLnBrk="0" hangingPunct="1">
        <a:spcBef>
          <a:spcPct val="20000"/>
        </a:spcBef>
        <a:buFont typeface="Meiryo UI" panose="020B0604030504040204" pitchFamily="50" charset="-128"/>
        <a:buChar char="∗"/>
        <a:defRPr kumimoji="1" sz="1600" kern="1200">
          <a:solidFill>
            <a:schemeClr val="tx1"/>
          </a:solidFill>
          <a:latin typeface="+mj-ea"/>
          <a:ea typeface="+mj-ea"/>
          <a:cs typeface="Meiryo UI" panose="020B0604030504040204" pitchFamily="50" charset="-128"/>
        </a:defRPr>
      </a:lvl4pPr>
      <a:lvl5pPr marL="1527213" indent="-228606" algn="l" defTabSz="914423" rtl="0" eaLnBrk="1" latinLnBrk="0" hangingPunct="1">
        <a:spcBef>
          <a:spcPct val="20000"/>
        </a:spcBef>
        <a:buFont typeface="Arial" pitchFamily="34" charset="0"/>
        <a:buChar char="»"/>
        <a:defRPr kumimoji="1" sz="1600" kern="1200">
          <a:solidFill>
            <a:schemeClr val="tx1"/>
          </a:solidFill>
          <a:latin typeface="+mj-ea"/>
          <a:ea typeface="+mj-ea"/>
          <a:cs typeface="Meiryo UI" panose="020B0604030504040204" pitchFamily="50" charset="-128"/>
        </a:defRPr>
      </a:lvl5pPr>
      <a:lvl6pPr marL="2514663" indent="-228606" algn="l" defTabSz="914423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74" indent="-228606" algn="l" defTabSz="914423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86" indent="-228606" algn="l" defTabSz="914423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97" indent="-228606" algn="l" defTabSz="914423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23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4" algn="l" defTabSz="914423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3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3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algn="l" defTabSz="914423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1" algn="l" defTabSz="914423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3" name="図 92" descr="図形, 四角形&#10;&#10;AI によって生成されたコンテンツは間違っている可能性があります。">
            <a:extLst>
              <a:ext uri="{FF2B5EF4-FFF2-40B4-BE49-F238E27FC236}">
                <a16:creationId xmlns:a16="http://schemas.microsoft.com/office/drawing/2014/main" id="{718CD442-B5FC-A03F-B27E-01EAE160E0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1934" y="4436271"/>
            <a:ext cx="4559300" cy="622300"/>
          </a:xfrm>
          <a:prstGeom prst="rect">
            <a:avLst/>
          </a:prstGeom>
        </p:spPr>
      </p:pic>
      <p:pic>
        <p:nvPicPr>
          <p:cNvPr id="92" name="図 91" descr="図形, 四角形&#10;&#10;AI によって生成されたコンテンツは間違っている可能性があります。">
            <a:extLst>
              <a:ext uri="{FF2B5EF4-FFF2-40B4-BE49-F238E27FC236}">
                <a16:creationId xmlns:a16="http://schemas.microsoft.com/office/drawing/2014/main" id="{63EDAD05-88C3-1BC8-9C19-28E252BADAD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3047" y="2625619"/>
            <a:ext cx="4559300" cy="622300"/>
          </a:xfrm>
          <a:prstGeom prst="rect">
            <a:avLst/>
          </a:prstGeom>
        </p:spPr>
      </p:pic>
      <p:sp>
        <p:nvSpPr>
          <p:cNvPr id="36" name="正方形/長方形 35">
            <a:extLst>
              <a:ext uri="{FF2B5EF4-FFF2-40B4-BE49-F238E27FC236}">
                <a16:creationId xmlns:a16="http://schemas.microsoft.com/office/drawing/2014/main" id="{8A5165D1-07CF-6A58-23BB-E4D64D32E3B7}"/>
              </a:ext>
            </a:extLst>
          </p:cNvPr>
          <p:cNvSpPr/>
          <p:nvPr/>
        </p:nvSpPr>
        <p:spPr>
          <a:xfrm>
            <a:off x="3437409" y="1019064"/>
            <a:ext cx="8412808" cy="15727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43" name="正方形/長方形 42">
            <a:extLst>
              <a:ext uri="{FF2B5EF4-FFF2-40B4-BE49-F238E27FC236}">
                <a16:creationId xmlns:a16="http://schemas.microsoft.com/office/drawing/2014/main" id="{863A11B2-49D7-66BA-474D-A06C9B1E08D5}"/>
              </a:ext>
            </a:extLst>
          </p:cNvPr>
          <p:cNvSpPr/>
          <p:nvPr/>
        </p:nvSpPr>
        <p:spPr>
          <a:xfrm>
            <a:off x="0" y="0"/>
            <a:ext cx="3095626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44" name="正方形/長方形 43">
            <a:extLst>
              <a:ext uri="{FF2B5EF4-FFF2-40B4-BE49-F238E27FC236}">
                <a16:creationId xmlns:a16="http://schemas.microsoft.com/office/drawing/2014/main" id="{0C10CBEF-75A4-C919-52E7-46A3121D14B7}"/>
              </a:ext>
            </a:extLst>
          </p:cNvPr>
          <p:cNvSpPr/>
          <p:nvPr/>
        </p:nvSpPr>
        <p:spPr>
          <a:xfrm>
            <a:off x="16388" y="-4497"/>
            <a:ext cx="12192000" cy="5878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50" name="正方形/長方形 49">
            <a:extLst>
              <a:ext uri="{FF2B5EF4-FFF2-40B4-BE49-F238E27FC236}">
                <a16:creationId xmlns:a16="http://schemas.microsoft.com/office/drawing/2014/main" id="{1BFA26C9-3A28-3142-F56B-104010F7CE35}"/>
              </a:ext>
            </a:extLst>
          </p:cNvPr>
          <p:cNvSpPr/>
          <p:nvPr/>
        </p:nvSpPr>
        <p:spPr bwMode="auto">
          <a:xfrm>
            <a:off x="0" y="0"/>
            <a:ext cx="3095626" cy="58477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rtlCol="0" anchor="ctr"/>
          <a:lstStyle/>
          <a:p>
            <a:pPr algn="l"/>
            <a:endParaRPr kumimoji="0" lang="ja-JP" altLang="en-US" sz="1200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pic>
        <p:nvPicPr>
          <p:cNvPr id="49" name="図 48" descr="黒い背景に白い文字がある&#10;&#10;AI によって生成されたコンテンツは間違っている可能性があります。">
            <a:extLst>
              <a:ext uri="{FF2B5EF4-FFF2-40B4-BE49-F238E27FC236}">
                <a16:creationId xmlns:a16="http://schemas.microsoft.com/office/drawing/2014/main" id="{CBDEB088-E7F7-2142-A12D-793DFB7441E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336" y="1802"/>
            <a:ext cx="2639615" cy="545022"/>
          </a:xfrm>
          <a:prstGeom prst="rect">
            <a:avLst/>
          </a:prstGeom>
        </p:spPr>
      </p:pic>
      <p:sp>
        <p:nvSpPr>
          <p:cNvPr id="51" name="タイトル 2">
            <a:extLst>
              <a:ext uri="{FF2B5EF4-FFF2-40B4-BE49-F238E27FC236}">
                <a16:creationId xmlns:a16="http://schemas.microsoft.com/office/drawing/2014/main" id="{CCEDFD13-12EB-0342-164F-C0D2798A5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7731" y="66980"/>
            <a:ext cx="8653290" cy="584775"/>
          </a:xfrm>
        </p:spPr>
        <p:txBody>
          <a:bodyPr/>
          <a:lstStyle/>
          <a:p>
            <a:r>
              <a:rPr kumimoji="1" lang="ja-JP" altLang="en-US">
                <a:solidFill>
                  <a:schemeClr val="bg1"/>
                </a:solidFill>
              </a:rPr>
              <a:t>株式会社○○○○</a:t>
            </a:r>
            <a:r>
              <a:rPr lang="ja-JP" altLang="en-US">
                <a:solidFill>
                  <a:schemeClr val="bg1"/>
                </a:solidFill>
              </a:rPr>
              <a:t>（</a:t>
            </a:r>
            <a:r>
              <a:rPr kumimoji="1" lang="ja-JP" altLang="en-US">
                <a:solidFill>
                  <a:schemeClr val="bg1"/>
                </a:solidFill>
              </a:rPr>
              <a:t>○○</a:t>
            </a:r>
            <a:r>
              <a:rPr lang="ja-JP" altLang="en-US">
                <a:solidFill>
                  <a:schemeClr val="bg1"/>
                </a:solidFill>
              </a:rPr>
              <a:t>業）</a:t>
            </a:r>
            <a:endParaRPr kumimoji="1" lang="ja-JP" altLang="en-US" dirty="0">
              <a:solidFill>
                <a:schemeClr val="bg1"/>
              </a:solidFill>
            </a:endParaRPr>
          </a:p>
        </p:txBody>
      </p:sp>
      <p:sp>
        <p:nvSpPr>
          <p:cNvPr id="54" name="正方形/長方形 53">
            <a:extLst>
              <a:ext uri="{FF2B5EF4-FFF2-40B4-BE49-F238E27FC236}">
                <a16:creationId xmlns:a16="http://schemas.microsoft.com/office/drawing/2014/main" id="{B8C0D721-897F-3053-02FC-8288EC1A2201}"/>
              </a:ext>
            </a:extLst>
          </p:cNvPr>
          <p:cNvSpPr/>
          <p:nvPr/>
        </p:nvSpPr>
        <p:spPr bwMode="auto">
          <a:xfrm>
            <a:off x="0" y="584775"/>
            <a:ext cx="3095626" cy="140406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 rtlCol="0" anchor="ctr"/>
          <a:lstStyle/>
          <a:p>
            <a:pPr algn="l"/>
            <a:endParaRPr kumimoji="0" lang="ja-JP" altLang="en-US" sz="1200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55" name="テキスト ボックス 54">
            <a:extLst>
              <a:ext uri="{FF2B5EF4-FFF2-40B4-BE49-F238E27FC236}">
                <a16:creationId xmlns:a16="http://schemas.microsoft.com/office/drawing/2014/main" id="{C66967A0-FDB3-FE85-B93E-E09456594808}"/>
              </a:ext>
            </a:extLst>
          </p:cNvPr>
          <p:cNvSpPr txBox="1"/>
          <p:nvPr/>
        </p:nvSpPr>
        <p:spPr>
          <a:xfrm>
            <a:off x="275691" y="3830396"/>
            <a:ext cx="248325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ja-JP" sz="1100" dirty="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○○</a:t>
            </a:r>
            <a:r>
              <a:rPr kumimoji="1" lang="ja-JP" altLang="en-US" sz="110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（写真の説明文）</a:t>
            </a:r>
            <a:endParaRPr kumimoji="1" lang="en-US" altLang="ja-JP" sz="1100" dirty="0">
              <a:solidFill>
                <a:srgbClr val="FF0000"/>
              </a:solidFill>
              <a:latin typeface="+mn-ea"/>
              <a:cs typeface="Meiryo UI" panose="020B0604030504040204" pitchFamily="50" charset="-128"/>
            </a:endParaRPr>
          </a:p>
        </p:txBody>
      </p:sp>
      <p:sp>
        <p:nvSpPr>
          <p:cNvPr id="56" name="テキスト ボックス 55">
            <a:extLst>
              <a:ext uri="{FF2B5EF4-FFF2-40B4-BE49-F238E27FC236}">
                <a16:creationId xmlns:a16="http://schemas.microsoft.com/office/drawing/2014/main" id="{443E6DD0-DCF3-3857-5A4D-780FF68123A5}"/>
              </a:ext>
            </a:extLst>
          </p:cNvPr>
          <p:cNvSpPr txBox="1"/>
          <p:nvPr/>
        </p:nvSpPr>
        <p:spPr>
          <a:xfrm>
            <a:off x="143657" y="4120057"/>
            <a:ext cx="2808312" cy="1724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41288" indent="-131763" algn="l">
              <a:lnSpc>
                <a:spcPts val="1620"/>
              </a:lnSpc>
            </a:pPr>
            <a:r>
              <a:rPr kumimoji="1" lang="ja-JP" altLang="en-US" sz="110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〇本社所在地：・・・</a:t>
            </a:r>
          </a:p>
          <a:p>
            <a:pPr marL="141288" indent="-131763" algn="l">
              <a:lnSpc>
                <a:spcPts val="1620"/>
              </a:lnSpc>
            </a:pPr>
            <a:r>
              <a:rPr kumimoji="1" lang="ja-JP" altLang="en-US" sz="110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〇事業概要：・・・</a:t>
            </a:r>
            <a:endParaRPr kumimoji="1" lang="en-US" altLang="ja-JP" sz="1100" dirty="0">
              <a:solidFill>
                <a:schemeClr val="bg1"/>
              </a:solidFill>
              <a:latin typeface="+mn-ea"/>
              <a:cs typeface="Meiryo UI" panose="020B0604030504040204" pitchFamily="50" charset="-128"/>
            </a:endParaRPr>
          </a:p>
          <a:p>
            <a:pPr marL="141288" indent="-131763" algn="l">
              <a:lnSpc>
                <a:spcPts val="1620"/>
              </a:lnSpc>
            </a:pPr>
            <a:endParaRPr kumimoji="1" lang="ja-JP" altLang="en-US" sz="1100">
              <a:solidFill>
                <a:schemeClr val="bg1"/>
              </a:solidFill>
              <a:latin typeface="+mn-ea"/>
              <a:cs typeface="Meiryo UI" panose="020B0604030504040204" pitchFamily="50" charset="-128"/>
            </a:endParaRPr>
          </a:p>
          <a:p>
            <a:pPr marL="141288" indent="-131763" algn="l">
              <a:lnSpc>
                <a:spcPts val="1620"/>
              </a:lnSpc>
            </a:pPr>
            <a:r>
              <a:rPr kumimoji="1" lang="ja-JP" altLang="en-US" sz="110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〇従業員数：・・・</a:t>
            </a:r>
            <a:r>
              <a:rPr kumimoji="1" lang="ja-JP" altLang="en-US" sz="90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（</a:t>
            </a:r>
            <a:r>
              <a:rPr kumimoji="1" lang="en-US" altLang="ja-JP" sz="900" dirty="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○</a:t>
            </a:r>
            <a:r>
              <a:rPr kumimoji="1" lang="ja-JP" altLang="en-US" sz="90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年</a:t>
            </a:r>
            <a:r>
              <a:rPr kumimoji="1" lang="en-US" altLang="ja-JP" sz="900" dirty="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○</a:t>
            </a:r>
            <a:r>
              <a:rPr kumimoji="1" lang="ja-JP" altLang="en-US" sz="90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月期）</a:t>
            </a:r>
            <a:endParaRPr kumimoji="1" lang="ja-JP" altLang="en-US" sz="1100">
              <a:solidFill>
                <a:schemeClr val="bg1"/>
              </a:solidFill>
              <a:latin typeface="+mn-ea"/>
              <a:cs typeface="Meiryo UI" panose="020B0604030504040204" pitchFamily="50" charset="-128"/>
            </a:endParaRPr>
          </a:p>
          <a:p>
            <a:pPr marL="141288" indent="-131763" algn="l">
              <a:lnSpc>
                <a:spcPts val="1620"/>
              </a:lnSpc>
            </a:pPr>
            <a:r>
              <a:rPr kumimoji="1" lang="ja-JP" altLang="en-US" sz="110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〇現在の売上高：</a:t>
            </a:r>
            <a:r>
              <a:rPr kumimoji="1" lang="en-US" altLang="ja-JP" sz="1100" dirty="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 ○</a:t>
            </a:r>
            <a:r>
              <a:rPr kumimoji="1" lang="ja-JP" altLang="en-US" sz="110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億円</a:t>
            </a:r>
            <a:r>
              <a:rPr kumimoji="1" lang="ja-JP" altLang="en-US" sz="90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（</a:t>
            </a:r>
            <a:r>
              <a:rPr kumimoji="1" lang="en-US" altLang="ja-JP" sz="900" dirty="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 ○</a:t>
            </a:r>
            <a:r>
              <a:rPr kumimoji="1" lang="ja-JP" altLang="en-US" sz="90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年</a:t>
            </a:r>
            <a:r>
              <a:rPr kumimoji="1" lang="en-US" altLang="ja-JP" sz="900" dirty="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○</a:t>
            </a:r>
            <a:r>
              <a:rPr kumimoji="1" lang="ja-JP" altLang="en-US" sz="90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月期）</a:t>
            </a:r>
            <a:endParaRPr kumimoji="1" lang="en-US" altLang="ja-JP" sz="900" dirty="0">
              <a:solidFill>
                <a:schemeClr val="bg1"/>
              </a:solidFill>
              <a:latin typeface="+mn-ea"/>
              <a:cs typeface="Meiryo UI" panose="020B0604030504040204" pitchFamily="50" charset="-128"/>
            </a:endParaRPr>
          </a:p>
          <a:p>
            <a:pPr marL="141288" indent="-131763" algn="l">
              <a:lnSpc>
                <a:spcPts val="1620"/>
              </a:lnSpc>
            </a:pPr>
            <a:r>
              <a:rPr kumimoji="1" lang="ja-JP" altLang="en-US" sz="110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○法人番号：</a:t>
            </a:r>
            <a:r>
              <a:rPr kumimoji="1" lang="en-US" altLang="ja-JP" sz="1100" dirty="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○○</a:t>
            </a:r>
          </a:p>
          <a:p>
            <a:pPr marL="141288" indent="-131763" algn="l">
              <a:lnSpc>
                <a:spcPts val="1620"/>
              </a:lnSpc>
            </a:pPr>
            <a:r>
              <a:rPr lang="en-US" altLang="ja-JP" sz="1100" dirty="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○</a:t>
            </a:r>
            <a:r>
              <a:rPr kumimoji="1" lang="ja-JP" altLang="en-US" sz="110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登録番号：○○</a:t>
            </a:r>
            <a:endParaRPr kumimoji="1" lang="en-US" altLang="ja-JP" sz="1100" dirty="0">
              <a:solidFill>
                <a:schemeClr val="bg1"/>
              </a:solidFill>
              <a:latin typeface="+mn-ea"/>
              <a:cs typeface="Meiryo UI" panose="020B0604030504040204" pitchFamily="50" charset="-128"/>
            </a:endParaRPr>
          </a:p>
          <a:p>
            <a:pPr marL="141288" indent="-131763">
              <a:lnSpc>
                <a:spcPts val="1620"/>
              </a:lnSpc>
            </a:pPr>
            <a:r>
              <a:rPr lang="en-US" altLang="ja-JP" sz="1100" dirty="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○Web</a:t>
            </a:r>
            <a:r>
              <a:rPr lang="ja-JP" altLang="en-US" sz="110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：</a:t>
            </a:r>
            <a:r>
              <a:rPr kumimoji="1" lang="en-US" altLang="ja-JP" sz="1100" dirty="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https://○○○</a:t>
            </a:r>
            <a:endParaRPr kumimoji="1" lang="ja-JP" altLang="en-US" sz="1100">
              <a:solidFill>
                <a:schemeClr val="bg1"/>
              </a:solidFill>
              <a:latin typeface="+mn-ea"/>
              <a:cs typeface="Meiryo UI" panose="020B0604030504040204" pitchFamily="50" charset="-128"/>
            </a:endParaRPr>
          </a:p>
        </p:txBody>
      </p:sp>
      <p:sp>
        <p:nvSpPr>
          <p:cNvPr id="63" name="テキスト ボックス 62">
            <a:extLst>
              <a:ext uri="{FF2B5EF4-FFF2-40B4-BE49-F238E27FC236}">
                <a16:creationId xmlns:a16="http://schemas.microsoft.com/office/drawing/2014/main" id="{D59A84E6-EF71-CD31-05AC-0FCA4E784AF7}"/>
              </a:ext>
            </a:extLst>
          </p:cNvPr>
          <p:cNvSpPr txBox="1"/>
          <p:nvPr/>
        </p:nvSpPr>
        <p:spPr>
          <a:xfrm>
            <a:off x="3579122" y="2138308"/>
            <a:ext cx="13770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sz="1200">
                <a:latin typeface="+mn-ea"/>
                <a:cs typeface="Meiryo UI" panose="020B0604030504040204" pitchFamily="50" charset="-128"/>
              </a:rPr>
              <a:t>肩　書</a:t>
            </a:r>
            <a:endParaRPr kumimoji="1" lang="en-US" altLang="ja-JP" sz="1200" dirty="0">
              <a:latin typeface="+mn-ea"/>
              <a:cs typeface="Meiryo UI" panose="020B0604030504040204" pitchFamily="50" charset="-128"/>
            </a:endParaRPr>
          </a:p>
          <a:p>
            <a:pPr algn="ctr"/>
            <a:r>
              <a:rPr lang="ja-JP" altLang="en-US" sz="1200">
                <a:latin typeface="+mn-ea"/>
                <a:cs typeface="Meiryo UI" panose="020B0604030504040204" pitchFamily="50" charset="-128"/>
              </a:rPr>
              <a:t>氏　名</a:t>
            </a:r>
            <a:endParaRPr kumimoji="1" lang="ja-JP" altLang="en-US" sz="1200" dirty="0">
              <a:latin typeface="+mn-ea"/>
              <a:cs typeface="Meiryo UI" panose="020B0604030504040204" pitchFamily="50" charset="-128"/>
            </a:endParaRPr>
          </a:p>
        </p:txBody>
      </p:sp>
      <p:sp>
        <p:nvSpPr>
          <p:cNvPr id="64" name="テキスト ボックス 63">
            <a:extLst>
              <a:ext uri="{FF2B5EF4-FFF2-40B4-BE49-F238E27FC236}">
                <a16:creationId xmlns:a16="http://schemas.microsoft.com/office/drawing/2014/main" id="{69B90523-F239-149C-BE35-DC6EAA39B712}"/>
              </a:ext>
            </a:extLst>
          </p:cNvPr>
          <p:cNvSpPr txBox="1"/>
          <p:nvPr/>
        </p:nvSpPr>
        <p:spPr>
          <a:xfrm>
            <a:off x="5129273" y="1172720"/>
            <a:ext cx="65673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>
                <a:latin typeface="+mn-ea"/>
                <a:cs typeface="Meiryo UI" panose="020B0604030504040204" pitchFamily="50" charset="-128"/>
              </a:rPr>
              <a:t>・・・（企業理念・ミッション）</a:t>
            </a:r>
            <a:endParaRPr kumimoji="1" lang="ja-JP" altLang="en-US" dirty="0">
              <a:latin typeface="+mn-ea"/>
              <a:cs typeface="Meiryo UI" panose="020B0604030504040204" pitchFamily="50" charset="-128"/>
            </a:endParaRPr>
          </a:p>
        </p:txBody>
      </p:sp>
      <p:sp>
        <p:nvSpPr>
          <p:cNvPr id="65" name="テキスト ボックス 64">
            <a:extLst>
              <a:ext uri="{FF2B5EF4-FFF2-40B4-BE49-F238E27FC236}">
                <a16:creationId xmlns:a16="http://schemas.microsoft.com/office/drawing/2014/main" id="{92EA6E26-1DF0-2B28-81F2-C9982E83C211}"/>
              </a:ext>
            </a:extLst>
          </p:cNvPr>
          <p:cNvSpPr txBox="1"/>
          <p:nvPr/>
        </p:nvSpPr>
        <p:spPr>
          <a:xfrm>
            <a:off x="5009247" y="1779129"/>
            <a:ext cx="668734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113" algn="l"/>
            <a:r>
              <a:rPr lang="ja-JP" altLang="en-US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・・・（</a:t>
            </a:r>
            <a:r>
              <a:rPr lang="en-US" altLang="ja-JP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100</a:t>
            </a:r>
            <a:r>
              <a:rPr lang="ja-JP" altLang="en-US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億宣言に向けた経営者メッセージ）、</a:t>
            </a:r>
            <a:r>
              <a:rPr lang="en-US" altLang="ja-JP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100</a:t>
            </a:r>
            <a:r>
              <a:rPr lang="ja-JP" altLang="en-US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億企業への成長を通じた実現したい内容（顧客、地域社会への貢献、社員の成長・待遇改善等）</a:t>
            </a:r>
            <a:endParaRPr kumimoji="1" lang="ja-JP" altLang="en-US" sz="1100" dirty="0">
              <a:solidFill>
                <a:srgbClr val="FF0000"/>
              </a:solidFill>
              <a:latin typeface="+mn-ea"/>
              <a:cs typeface="Meiryo UI" panose="020B0604030504040204" pitchFamily="50" charset="-128"/>
            </a:endParaRPr>
          </a:p>
        </p:txBody>
      </p:sp>
      <p:sp>
        <p:nvSpPr>
          <p:cNvPr id="66" name="正方形/長方形 65">
            <a:extLst>
              <a:ext uri="{FF2B5EF4-FFF2-40B4-BE49-F238E27FC236}">
                <a16:creationId xmlns:a16="http://schemas.microsoft.com/office/drawing/2014/main" id="{5C3D650A-6EB7-8D8C-CA38-A2A69B058656}"/>
              </a:ext>
            </a:extLst>
          </p:cNvPr>
          <p:cNvSpPr/>
          <p:nvPr/>
        </p:nvSpPr>
        <p:spPr>
          <a:xfrm>
            <a:off x="3464830" y="3026465"/>
            <a:ext cx="8412808" cy="135044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69" name="テキスト ボックス 68">
            <a:extLst>
              <a:ext uri="{FF2B5EF4-FFF2-40B4-BE49-F238E27FC236}">
                <a16:creationId xmlns:a16="http://schemas.microsoft.com/office/drawing/2014/main" id="{24676714-D841-F7E0-FBCF-73AFFCE828B6}"/>
              </a:ext>
            </a:extLst>
          </p:cNvPr>
          <p:cNvSpPr txBox="1"/>
          <p:nvPr/>
        </p:nvSpPr>
        <p:spPr>
          <a:xfrm>
            <a:off x="3465748" y="2702010"/>
            <a:ext cx="321669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Tx/>
              <a:buNone/>
              <a:tabLst/>
              <a:defRPr/>
            </a:pPr>
            <a:r>
              <a:rPr lang="ja-JP" altLang="en-US" sz="1200" b="1" dirty="0">
                <a:solidFill>
                  <a:prstClr val="black"/>
                </a:solidFill>
                <a:latin typeface="+mj-ea"/>
                <a:ea typeface="+mj-ea"/>
              </a:rPr>
              <a:t>売上高</a:t>
            </a:r>
            <a:r>
              <a:rPr lang="en-US" altLang="ja-JP" sz="1200" b="1" dirty="0">
                <a:solidFill>
                  <a:prstClr val="black"/>
                </a:solidFill>
                <a:latin typeface="+mj-ea"/>
                <a:ea typeface="+mj-ea"/>
              </a:rPr>
              <a:t>100</a:t>
            </a:r>
            <a:r>
              <a:rPr lang="ja-JP" altLang="en-US" sz="1200" b="1" dirty="0">
                <a:solidFill>
                  <a:prstClr val="black"/>
                </a:solidFill>
                <a:latin typeface="+mj-ea"/>
                <a:ea typeface="+mj-ea"/>
              </a:rPr>
              <a:t>億円実現の目標と課題</a:t>
            </a:r>
            <a:endParaRPr kumimoji="1" lang="en-US" altLang="ja-JP" sz="1200" b="1" u="none" strike="noStrike" kern="1200" cap="none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ea"/>
              <a:ea typeface="+mj-ea"/>
            </a:endParaRPr>
          </a:p>
        </p:txBody>
      </p:sp>
      <p:sp>
        <p:nvSpPr>
          <p:cNvPr id="72" name="テキスト ボックス 71">
            <a:extLst>
              <a:ext uri="{FF2B5EF4-FFF2-40B4-BE49-F238E27FC236}">
                <a16:creationId xmlns:a16="http://schemas.microsoft.com/office/drawing/2014/main" id="{6CB3A590-47B7-FFC7-716F-D58074E5CEFE}"/>
              </a:ext>
            </a:extLst>
          </p:cNvPr>
          <p:cNvSpPr txBox="1"/>
          <p:nvPr/>
        </p:nvSpPr>
        <p:spPr>
          <a:xfrm>
            <a:off x="3554889" y="3441610"/>
            <a:ext cx="3995442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113" algn="l"/>
            <a:r>
              <a:rPr kumimoji="1" lang="ja-JP" altLang="en-US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（例）〇〇年の売上高達成に向け、年率〇〇％程度の成長を目指す。（期間やプロセス）</a:t>
            </a:r>
          </a:p>
          <a:p>
            <a:pPr marL="11113" algn="l"/>
            <a:endParaRPr kumimoji="1" lang="ja-JP" altLang="en-US" sz="1100" dirty="0">
              <a:solidFill>
                <a:srgbClr val="FF0000"/>
              </a:solidFill>
              <a:latin typeface="+mn-ea"/>
              <a:cs typeface="Meiryo UI" panose="020B0604030504040204" pitchFamily="50" charset="-128"/>
            </a:endParaRPr>
          </a:p>
        </p:txBody>
      </p:sp>
      <p:sp>
        <p:nvSpPr>
          <p:cNvPr id="73" name="正方形/長方形 72">
            <a:extLst>
              <a:ext uri="{FF2B5EF4-FFF2-40B4-BE49-F238E27FC236}">
                <a16:creationId xmlns:a16="http://schemas.microsoft.com/office/drawing/2014/main" id="{2812F054-A8C9-E274-CCA4-524A643632BF}"/>
              </a:ext>
            </a:extLst>
          </p:cNvPr>
          <p:cNvSpPr/>
          <p:nvPr/>
        </p:nvSpPr>
        <p:spPr>
          <a:xfrm>
            <a:off x="3464830" y="4842071"/>
            <a:ext cx="8412808" cy="1726997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75" name="テキスト ボックス 74">
            <a:extLst>
              <a:ext uri="{FF2B5EF4-FFF2-40B4-BE49-F238E27FC236}">
                <a16:creationId xmlns:a16="http://schemas.microsoft.com/office/drawing/2014/main" id="{D4D249CC-2A52-D22F-2380-6CE6B69733D3}"/>
              </a:ext>
            </a:extLst>
          </p:cNvPr>
          <p:cNvSpPr txBox="1"/>
          <p:nvPr/>
        </p:nvSpPr>
        <p:spPr>
          <a:xfrm>
            <a:off x="3503932" y="5159916"/>
            <a:ext cx="4046399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113" algn="l"/>
            <a:r>
              <a:rPr kumimoji="1" lang="ja-JP" altLang="en-US" sz="110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売上高</a:t>
            </a:r>
            <a:r>
              <a:rPr kumimoji="1" lang="en-US" altLang="ja-JP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100</a:t>
            </a:r>
            <a:r>
              <a:rPr kumimoji="1" lang="ja-JP" altLang="en-US" sz="110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億達成のための具体的措置について記載</a:t>
            </a:r>
          </a:p>
          <a:p>
            <a:pPr marL="11113" algn="l"/>
            <a:r>
              <a:rPr lang="ja-JP" altLang="en-US" sz="110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例えば、</a:t>
            </a:r>
            <a:r>
              <a:rPr kumimoji="1" lang="ja-JP" altLang="en-US" sz="110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設備投資による生産体制増強、海外展開、新事業・新分野進出、</a:t>
            </a:r>
            <a:r>
              <a:rPr kumimoji="1" lang="en-US" altLang="ja-JP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M&amp;A</a:t>
            </a:r>
            <a:r>
              <a:rPr kumimoji="1" lang="ja-JP" altLang="en-US" sz="110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等の成長手段をできるだけ具体的に記述）</a:t>
            </a:r>
          </a:p>
          <a:p>
            <a:pPr marL="11113" algn="l"/>
            <a:r>
              <a:rPr lang="ja-JP" altLang="en-US" sz="110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その他、</a:t>
            </a:r>
            <a:r>
              <a:rPr kumimoji="1" lang="ja-JP" altLang="en-US" sz="110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先進性・成長性</a:t>
            </a:r>
            <a:r>
              <a:rPr kumimoji="1" lang="en-US" altLang="ja-JP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(</a:t>
            </a:r>
            <a:r>
              <a:rPr kumimoji="1" lang="ja-JP" altLang="en-US" sz="110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生産性、製品・サービス等の競争力等</a:t>
            </a:r>
            <a:r>
              <a:rPr kumimoji="1" lang="en-US" altLang="ja-JP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)</a:t>
            </a:r>
            <a:r>
              <a:rPr kumimoji="1" lang="ja-JP" altLang="en-US" sz="110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。</a:t>
            </a:r>
            <a:endParaRPr kumimoji="1" lang="en-US" altLang="ja-JP" sz="1100" dirty="0">
              <a:solidFill>
                <a:srgbClr val="FF0000"/>
              </a:solidFill>
              <a:latin typeface="+mn-ea"/>
              <a:cs typeface="Meiryo UI" panose="020B0604030504040204" pitchFamily="50" charset="-128"/>
            </a:endParaRPr>
          </a:p>
        </p:txBody>
      </p:sp>
      <p:sp>
        <p:nvSpPr>
          <p:cNvPr id="77" name="テキスト ボックス 76">
            <a:extLst>
              <a:ext uri="{FF2B5EF4-FFF2-40B4-BE49-F238E27FC236}">
                <a16:creationId xmlns:a16="http://schemas.microsoft.com/office/drawing/2014/main" id="{5D6E24FA-9672-BBBF-858D-6889AA8BECCE}"/>
              </a:ext>
            </a:extLst>
          </p:cNvPr>
          <p:cNvSpPr txBox="1"/>
          <p:nvPr/>
        </p:nvSpPr>
        <p:spPr>
          <a:xfrm>
            <a:off x="3465748" y="4549502"/>
            <a:ext cx="321669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Tx/>
              <a:buNone/>
              <a:tabLst/>
              <a:defRPr/>
            </a:pPr>
            <a:r>
              <a:rPr lang="ja-JP" altLang="en-US" sz="1200" b="1" dirty="0">
                <a:solidFill>
                  <a:prstClr val="black"/>
                </a:solidFill>
                <a:latin typeface="+mj-ea"/>
                <a:ea typeface="+mj-ea"/>
              </a:rPr>
              <a:t>売上高</a:t>
            </a:r>
            <a:r>
              <a:rPr lang="en-US" altLang="ja-JP" sz="1200" b="1" dirty="0">
                <a:solidFill>
                  <a:prstClr val="black"/>
                </a:solidFill>
                <a:latin typeface="+mj-ea"/>
                <a:ea typeface="+mj-ea"/>
              </a:rPr>
              <a:t>100</a:t>
            </a:r>
            <a:r>
              <a:rPr lang="ja-JP" altLang="en-US" sz="1200" b="1" dirty="0">
                <a:solidFill>
                  <a:prstClr val="black"/>
                </a:solidFill>
                <a:latin typeface="+mj-ea"/>
                <a:ea typeface="+mj-ea"/>
              </a:rPr>
              <a:t>億円実現に向けた具体的措置</a:t>
            </a:r>
          </a:p>
        </p:txBody>
      </p:sp>
      <p:sp>
        <p:nvSpPr>
          <p:cNvPr id="79" name="テキスト ボックス 78">
            <a:extLst>
              <a:ext uri="{FF2B5EF4-FFF2-40B4-BE49-F238E27FC236}">
                <a16:creationId xmlns:a16="http://schemas.microsoft.com/office/drawing/2014/main" id="{526DBE96-7031-F906-2865-783417674CFF}"/>
              </a:ext>
            </a:extLst>
          </p:cNvPr>
          <p:cNvSpPr txBox="1"/>
          <p:nvPr/>
        </p:nvSpPr>
        <p:spPr>
          <a:xfrm>
            <a:off x="7671685" y="5178867"/>
            <a:ext cx="407622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1113" algn="l"/>
            <a:r>
              <a:rPr kumimoji="1" lang="ja-JP" altLang="en-US" sz="110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･････</a:t>
            </a:r>
          </a:p>
        </p:txBody>
      </p:sp>
      <p:cxnSp>
        <p:nvCxnSpPr>
          <p:cNvPr id="81" name="直線コネクタ 80">
            <a:extLst>
              <a:ext uri="{FF2B5EF4-FFF2-40B4-BE49-F238E27FC236}">
                <a16:creationId xmlns:a16="http://schemas.microsoft.com/office/drawing/2014/main" id="{CC774526-5926-564A-C1B1-035978B32699}"/>
              </a:ext>
            </a:extLst>
          </p:cNvPr>
          <p:cNvCxnSpPr/>
          <p:nvPr/>
        </p:nvCxnSpPr>
        <p:spPr>
          <a:xfrm>
            <a:off x="7606369" y="5013173"/>
            <a:ext cx="0" cy="144655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直線コネクタ 81">
            <a:extLst>
              <a:ext uri="{FF2B5EF4-FFF2-40B4-BE49-F238E27FC236}">
                <a16:creationId xmlns:a16="http://schemas.microsoft.com/office/drawing/2014/main" id="{C4D0F080-EAF4-16B7-F61A-721CFEAC3C8D}"/>
              </a:ext>
            </a:extLst>
          </p:cNvPr>
          <p:cNvCxnSpPr>
            <a:cxnSpLocks/>
          </p:cNvCxnSpPr>
          <p:nvPr/>
        </p:nvCxnSpPr>
        <p:spPr>
          <a:xfrm>
            <a:off x="7606369" y="3116646"/>
            <a:ext cx="0" cy="1136405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テキスト ボックス 82">
            <a:extLst>
              <a:ext uri="{FF2B5EF4-FFF2-40B4-BE49-F238E27FC236}">
                <a16:creationId xmlns:a16="http://schemas.microsoft.com/office/drawing/2014/main" id="{DB70B64B-3722-F3E3-5368-2D9DE271B5C1}"/>
              </a:ext>
            </a:extLst>
          </p:cNvPr>
          <p:cNvSpPr txBox="1"/>
          <p:nvPr/>
        </p:nvSpPr>
        <p:spPr>
          <a:xfrm>
            <a:off x="7640390" y="3429000"/>
            <a:ext cx="39954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113"/>
            <a:r>
              <a:rPr kumimoji="1" lang="ja-JP" altLang="en-US" sz="110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･････</a:t>
            </a:r>
          </a:p>
        </p:txBody>
      </p:sp>
      <p:sp>
        <p:nvSpPr>
          <p:cNvPr id="85" name="テキスト ボックス 84">
            <a:extLst>
              <a:ext uri="{FF2B5EF4-FFF2-40B4-BE49-F238E27FC236}">
                <a16:creationId xmlns:a16="http://schemas.microsoft.com/office/drawing/2014/main" id="{8F318389-EAEB-25CE-F8E0-7287CF4861F8}"/>
              </a:ext>
            </a:extLst>
          </p:cNvPr>
          <p:cNvSpPr txBox="1"/>
          <p:nvPr/>
        </p:nvSpPr>
        <p:spPr>
          <a:xfrm>
            <a:off x="4787490" y="3078854"/>
            <a:ext cx="151685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1113" algn="ctr"/>
            <a:r>
              <a:rPr kumimoji="1" lang="ja-JP" altLang="en-US" sz="1200" b="1">
                <a:latin typeface="+mn-ea"/>
                <a:cs typeface="Meiryo UI" panose="020B0604030504040204" pitchFamily="50" charset="-128"/>
              </a:rPr>
              <a:t>実現目標</a:t>
            </a:r>
          </a:p>
        </p:txBody>
      </p:sp>
      <p:sp>
        <p:nvSpPr>
          <p:cNvPr id="86" name="テキスト ボックス 85">
            <a:extLst>
              <a:ext uri="{FF2B5EF4-FFF2-40B4-BE49-F238E27FC236}">
                <a16:creationId xmlns:a16="http://schemas.microsoft.com/office/drawing/2014/main" id="{C6AE2D4B-867F-DCB7-0DDE-3D6871F9ADEC}"/>
              </a:ext>
            </a:extLst>
          </p:cNvPr>
          <p:cNvSpPr txBox="1"/>
          <p:nvPr/>
        </p:nvSpPr>
        <p:spPr>
          <a:xfrm>
            <a:off x="8994056" y="3072652"/>
            <a:ext cx="151685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1113" algn="ctr"/>
            <a:r>
              <a:rPr lang="ja-JP" altLang="en-US" sz="1200" b="1">
                <a:latin typeface="+mn-ea"/>
                <a:cs typeface="Meiryo UI" panose="020B0604030504040204" pitchFamily="50" charset="-128"/>
              </a:rPr>
              <a:t>課題</a:t>
            </a:r>
            <a:endParaRPr kumimoji="1" lang="ja-JP" altLang="en-US" sz="1200" b="1">
              <a:latin typeface="+mn-ea"/>
              <a:cs typeface="Meiryo UI" panose="020B0604030504040204" pitchFamily="50" charset="-128"/>
            </a:endParaRPr>
          </a:p>
        </p:txBody>
      </p:sp>
      <p:sp>
        <p:nvSpPr>
          <p:cNvPr id="87" name="テキスト ボックス 86">
            <a:extLst>
              <a:ext uri="{FF2B5EF4-FFF2-40B4-BE49-F238E27FC236}">
                <a16:creationId xmlns:a16="http://schemas.microsoft.com/office/drawing/2014/main" id="{9795DFAB-0E1B-6050-2B6F-EE4C07E61B7C}"/>
              </a:ext>
            </a:extLst>
          </p:cNvPr>
          <p:cNvSpPr txBox="1"/>
          <p:nvPr/>
        </p:nvSpPr>
        <p:spPr>
          <a:xfrm>
            <a:off x="4767055" y="4888556"/>
            <a:ext cx="151685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1113" algn="ctr"/>
            <a:r>
              <a:rPr lang="ja-JP" altLang="en-US" sz="1200" b="1">
                <a:latin typeface="+mn-ea"/>
                <a:cs typeface="Meiryo UI" panose="020B0604030504040204" pitchFamily="50" charset="-128"/>
              </a:rPr>
              <a:t>目指す成長手段</a:t>
            </a:r>
            <a:endParaRPr kumimoji="1" lang="ja-JP" altLang="en-US" sz="1200" b="1">
              <a:latin typeface="+mn-ea"/>
              <a:cs typeface="Meiryo UI" panose="020B0604030504040204" pitchFamily="50" charset="-128"/>
            </a:endParaRPr>
          </a:p>
        </p:txBody>
      </p:sp>
      <p:sp>
        <p:nvSpPr>
          <p:cNvPr id="88" name="テキスト ボックス 87">
            <a:extLst>
              <a:ext uri="{FF2B5EF4-FFF2-40B4-BE49-F238E27FC236}">
                <a16:creationId xmlns:a16="http://schemas.microsoft.com/office/drawing/2014/main" id="{0E4F6EC5-7AD3-462C-AEAC-3B6ADA8658CB}"/>
              </a:ext>
            </a:extLst>
          </p:cNvPr>
          <p:cNvSpPr txBox="1"/>
          <p:nvPr/>
        </p:nvSpPr>
        <p:spPr>
          <a:xfrm>
            <a:off x="9035783" y="4871970"/>
            <a:ext cx="151685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1113" algn="ctr"/>
            <a:r>
              <a:rPr kumimoji="1" lang="ja-JP" altLang="en-US" sz="1200" b="1">
                <a:latin typeface="+mn-ea"/>
                <a:cs typeface="Meiryo UI" panose="020B0604030504040204" pitchFamily="50" charset="-128"/>
              </a:rPr>
              <a:t>実施体制</a:t>
            </a:r>
          </a:p>
        </p:txBody>
      </p:sp>
      <p:pic>
        <p:nvPicPr>
          <p:cNvPr id="91" name="図 90" descr="図形, 四角形&#10;&#10;AI によって生成されたコンテンツは間違っている可能性があります。">
            <a:extLst>
              <a:ext uri="{FF2B5EF4-FFF2-40B4-BE49-F238E27FC236}">
                <a16:creationId xmlns:a16="http://schemas.microsoft.com/office/drawing/2014/main" id="{7D97D8A7-F0D6-489D-6D0C-BBBF679E88F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2707" y="615560"/>
            <a:ext cx="4559300" cy="622300"/>
          </a:xfrm>
          <a:prstGeom prst="rect">
            <a:avLst/>
          </a:prstGeom>
        </p:spPr>
      </p:pic>
      <p:sp>
        <p:nvSpPr>
          <p:cNvPr id="40" name="テキスト ボックス 39">
            <a:extLst>
              <a:ext uri="{FF2B5EF4-FFF2-40B4-BE49-F238E27FC236}">
                <a16:creationId xmlns:a16="http://schemas.microsoft.com/office/drawing/2014/main" id="{2EB06258-0D03-69F7-E983-3A01DABFF84C}"/>
              </a:ext>
            </a:extLst>
          </p:cNvPr>
          <p:cNvSpPr txBox="1"/>
          <p:nvPr/>
        </p:nvSpPr>
        <p:spPr>
          <a:xfrm>
            <a:off x="3445750" y="694609"/>
            <a:ext cx="382619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Tx/>
              <a:buNone/>
              <a:tabLst/>
              <a:defRPr/>
            </a:pPr>
            <a:r>
              <a:rPr lang="ja-JP" altLang="en-US" sz="1200" b="1">
                <a:solidFill>
                  <a:prstClr val="black"/>
                </a:solidFill>
                <a:latin typeface="+mj-ea"/>
                <a:ea typeface="+mj-ea"/>
              </a:rPr>
              <a:t>企業理念・</a:t>
            </a:r>
            <a:r>
              <a:rPr lang="en-US" altLang="ja-JP" sz="1200" b="1" dirty="0">
                <a:solidFill>
                  <a:prstClr val="black"/>
                </a:solidFill>
                <a:latin typeface="+mj-ea"/>
                <a:ea typeface="+mj-ea"/>
              </a:rPr>
              <a:t>100</a:t>
            </a:r>
            <a:r>
              <a:rPr lang="ja-JP" altLang="en-US" sz="1200" b="1">
                <a:solidFill>
                  <a:prstClr val="black"/>
                </a:solidFill>
                <a:latin typeface="+mj-ea"/>
                <a:ea typeface="+mj-ea"/>
              </a:rPr>
              <a:t>億宣言に向けた経営者メッセージ</a:t>
            </a:r>
            <a:endParaRPr kumimoji="1" lang="en-US" altLang="ja-JP" sz="1200" b="1" u="none" strike="noStrike" kern="1200" cap="none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ea"/>
              <a:ea typeface="+mj-ea"/>
            </a:endParaRPr>
          </a:p>
        </p:txBody>
      </p:sp>
      <p:sp>
        <p:nvSpPr>
          <p:cNvPr id="94" name="円/楕円 93">
            <a:extLst>
              <a:ext uri="{FF2B5EF4-FFF2-40B4-BE49-F238E27FC236}">
                <a16:creationId xmlns:a16="http://schemas.microsoft.com/office/drawing/2014/main" id="{D7FA0A0C-8566-27F2-CD76-B6279C8A4583}"/>
              </a:ext>
            </a:extLst>
          </p:cNvPr>
          <p:cNvSpPr/>
          <p:nvPr/>
        </p:nvSpPr>
        <p:spPr bwMode="auto">
          <a:xfrm>
            <a:off x="969959" y="725113"/>
            <a:ext cx="1155708" cy="1155708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rtlCol="0" anchor="ctr"/>
          <a:lstStyle/>
          <a:p>
            <a:pPr algn="l"/>
            <a:r>
              <a:rPr kumimoji="0" lang="ja-JP" altLang="en-US" sz="1200">
                <a:latin typeface="+mj-ea"/>
                <a:ea typeface="+mj-ea"/>
              </a:rPr>
              <a:t>企業ロゴ</a:t>
            </a:r>
            <a:endParaRPr kumimoji="0" lang="en-US" altLang="ja-JP" sz="1200" dirty="0">
              <a:latin typeface="+mj-ea"/>
              <a:ea typeface="+mj-ea"/>
            </a:endParaRPr>
          </a:p>
        </p:txBody>
      </p:sp>
      <p:sp>
        <p:nvSpPr>
          <p:cNvPr id="95" name="正方形/長方形 94">
            <a:extLst>
              <a:ext uri="{FF2B5EF4-FFF2-40B4-BE49-F238E27FC236}">
                <a16:creationId xmlns:a16="http://schemas.microsoft.com/office/drawing/2014/main" id="{CE1DF810-E889-05FD-AEE4-CF790F5F0C95}"/>
              </a:ext>
            </a:extLst>
          </p:cNvPr>
          <p:cNvSpPr/>
          <p:nvPr/>
        </p:nvSpPr>
        <p:spPr bwMode="auto">
          <a:xfrm>
            <a:off x="310523" y="2138308"/>
            <a:ext cx="2483259" cy="1665962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rtlCol="0" anchor="ctr"/>
          <a:lstStyle/>
          <a:p>
            <a:pPr algn="ctr"/>
            <a:r>
              <a:rPr kumimoji="0" lang="ja-JP" altLang="en-US" sz="1200">
                <a:latin typeface="+mj-ea"/>
                <a:ea typeface="+mj-ea"/>
              </a:rPr>
              <a:t>事業所や製品の写真等</a:t>
            </a:r>
            <a:endParaRPr kumimoji="0" lang="ja-JP" altLang="en-US" sz="1200" dirty="0">
              <a:latin typeface="+mj-ea"/>
              <a:ea typeface="+mj-ea"/>
            </a:endParaRPr>
          </a:p>
        </p:txBody>
      </p:sp>
      <p:sp>
        <p:nvSpPr>
          <p:cNvPr id="96" name="円/楕円 95">
            <a:extLst>
              <a:ext uri="{FF2B5EF4-FFF2-40B4-BE49-F238E27FC236}">
                <a16:creationId xmlns:a16="http://schemas.microsoft.com/office/drawing/2014/main" id="{29DBCFF3-DC03-4AF2-E0BE-C99EB4025968}"/>
              </a:ext>
            </a:extLst>
          </p:cNvPr>
          <p:cNvSpPr/>
          <p:nvPr/>
        </p:nvSpPr>
        <p:spPr bwMode="auto">
          <a:xfrm>
            <a:off x="3695895" y="990476"/>
            <a:ext cx="1155708" cy="1155708"/>
          </a:xfrm>
          <a:prstGeom prst="ellipse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/>
        </p:spPr>
        <p:txBody>
          <a:bodyPr wrap="square" rtlCol="0" anchor="ctr"/>
          <a:lstStyle/>
          <a:p>
            <a:pPr algn="ctr"/>
            <a:r>
              <a:rPr kumimoji="0" lang="ja-JP" altLang="en-US" sz="1200">
                <a:solidFill>
                  <a:schemeClr val="bg1"/>
                </a:solidFill>
                <a:latin typeface="+mj-ea"/>
                <a:ea typeface="+mj-ea"/>
              </a:rPr>
              <a:t>経営者</a:t>
            </a:r>
            <a:endParaRPr kumimoji="0" lang="en-US" altLang="ja-JP" sz="1200" dirty="0">
              <a:solidFill>
                <a:schemeClr val="bg1"/>
              </a:solidFill>
              <a:latin typeface="+mj-ea"/>
              <a:ea typeface="+mj-ea"/>
            </a:endParaRPr>
          </a:p>
          <a:p>
            <a:pPr algn="ctr"/>
            <a:r>
              <a:rPr kumimoji="0" lang="ja-JP" altLang="en-US" sz="1200">
                <a:solidFill>
                  <a:schemeClr val="bg1"/>
                </a:solidFill>
                <a:latin typeface="+mj-ea"/>
                <a:ea typeface="+mj-ea"/>
              </a:rPr>
              <a:t>写真</a:t>
            </a:r>
            <a:endParaRPr kumimoji="0" lang="en-US" altLang="ja-JP" sz="1200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C2AA8C94-A333-3F5C-AC76-1456DBF2B1C9}"/>
              </a:ext>
            </a:extLst>
          </p:cNvPr>
          <p:cNvSpPr txBox="1"/>
          <p:nvPr/>
        </p:nvSpPr>
        <p:spPr>
          <a:xfrm>
            <a:off x="6096000" y="6627168"/>
            <a:ext cx="6791769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110004020202020204"/>
                <a:ea typeface="游ゴシック" panose="020B0400000000000000" pitchFamily="50" charset="-128"/>
                <a:cs typeface="+mn-cs"/>
              </a:rPr>
              <a:t>※</a:t>
            </a:r>
            <a:r>
              <a:rPr kumimoji="1" lang="ja-JP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110004020202020204"/>
                <a:ea typeface="游ゴシック" panose="020B0400000000000000" pitchFamily="50" charset="-128"/>
                <a:cs typeface="+mn-cs"/>
              </a:rPr>
              <a:t>本宣言は企業自身がその責任において売上高１００億円を目指して、自社の取組を進める旨を宣言するものです</a:t>
            </a:r>
          </a:p>
        </p:txBody>
      </p:sp>
    </p:spTree>
    <p:extLst>
      <p:ext uri="{BB962C8B-B14F-4D97-AF65-F5344CB8AC3E}">
        <p14:creationId xmlns:p14="http://schemas.microsoft.com/office/powerpoint/2010/main" val="12314198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355AF9-8160-890C-8AA4-DEE7900A53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A900F62C-DEB3-1DE9-A198-919734A4CB5F}"/>
              </a:ext>
            </a:extLst>
          </p:cNvPr>
          <p:cNvSpPr/>
          <p:nvPr/>
        </p:nvSpPr>
        <p:spPr>
          <a:xfrm>
            <a:off x="551177" y="1045388"/>
            <a:ext cx="11346568" cy="525949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50" charset="-128"/>
              <a:cs typeface="+mn-cs"/>
            </a:endParaRPr>
          </a:p>
        </p:txBody>
      </p:sp>
      <p:pic>
        <p:nvPicPr>
          <p:cNvPr id="8" name="図 7">
            <a:extLst>
              <a:ext uri="{FF2B5EF4-FFF2-40B4-BE49-F238E27FC236}">
                <a16:creationId xmlns:a16="http://schemas.microsoft.com/office/drawing/2014/main" id="{57FA54C2-B11A-5DA9-EEE0-E57D29950B8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336" y="734238"/>
            <a:ext cx="4618128" cy="622300"/>
          </a:xfrm>
          <a:prstGeom prst="rect">
            <a:avLst/>
          </a:prstGeom>
        </p:spPr>
      </p:pic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367B432B-93A6-F165-DE35-2978E6277010}"/>
              </a:ext>
            </a:extLst>
          </p:cNvPr>
          <p:cNvSpPr txBox="1"/>
          <p:nvPr/>
        </p:nvSpPr>
        <p:spPr>
          <a:xfrm>
            <a:off x="488539" y="816849"/>
            <a:ext cx="424892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0000"/>
              </a:buClr>
              <a:buSzPts val="3000"/>
              <a:defRPr/>
            </a:pPr>
            <a:r>
              <a:rPr lang="ja-JP" altLang="en-US" sz="1200" b="1" dirty="0">
                <a:solidFill>
                  <a:prstClr val="black"/>
                </a:solidFill>
                <a:latin typeface="+mj-ea"/>
                <a:ea typeface="+mj-ea"/>
              </a:rPr>
              <a:t>自由記載（例：売上高</a:t>
            </a:r>
            <a:r>
              <a:rPr lang="en-US" altLang="ja-JP" sz="1200" b="1" dirty="0">
                <a:solidFill>
                  <a:prstClr val="black"/>
                </a:solidFill>
                <a:latin typeface="+mj-ea"/>
                <a:ea typeface="+mj-ea"/>
              </a:rPr>
              <a:t>100</a:t>
            </a:r>
            <a:r>
              <a:rPr lang="ja-JP" altLang="en-US" sz="1200" b="1" dirty="0">
                <a:solidFill>
                  <a:prstClr val="black"/>
                </a:solidFill>
                <a:latin typeface="+mj-ea"/>
                <a:ea typeface="+mj-ea"/>
              </a:rPr>
              <a:t>億円実現に向けた具体的措置）</a:t>
            </a:r>
            <a:endParaRPr kumimoji="1" lang="en-US" altLang="ja-JP" sz="1200" b="1" u="none" strike="noStrike" kern="1200" cap="none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ea"/>
              <a:ea typeface="+mj-ea"/>
            </a:endParaRP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75DB36D3-7268-E05A-8AE6-E148C0B09E0F}"/>
              </a:ext>
            </a:extLst>
          </p:cNvPr>
          <p:cNvSpPr txBox="1"/>
          <p:nvPr/>
        </p:nvSpPr>
        <p:spPr>
          <a:xfrm>
            <a:off x="551177" y="1556449"/>
            <a:ext cx="11179704" cy="19543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2563" indent="-171450" algn="l">
              <a:buFont typeface="Arial" panose="020B0604020202020204" pitchFamily="34" charset="0"/>
              <a:buChar char="•"/>
            </a:pPr>
            <a:r>
              <a:rPr kumimoji="1" lang="ja-JP" altLang="en-US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ひな形にある「売上高</a:t>
            </a:r>
            <a:r>
              <a:rPr kumimoji="1" lang="en-US" altLang="ja-JP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100</a:t>
            </a:r>
            <a:r>
              <a:rPr kumimoji="1" lang="ja-JP" altLang="en-US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億円実現</a:t>
            </a:r>
            <a:r>
              <a:rPr lang="ja-JP" altLang="en-US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の</a:t>
            </a:r>
            <a:r>
              <a:rPr kumimoji="1" lang="ja-JP" altLang="en-US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目標と課題（実現目標・課題）」、「売上高</a:t>
            </a:r>
            <a:r>
              <a:rPr kumimoji="1" lang="en-US" altLang="ja-JP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100</a:t>
            </a:r>
            <a:r>
              <a:rPr kumimoji="1" lang="ja-JP" altLang="en-US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億円実現に向けた具体的措置（目指す成長手段・実施体制）」などの項目について、書き切れない内容など、さらに詳しく記載したい場合には、こちらの別紙をご活用ください。</a:t>
            </a:r>
            <a:endParaRPr kumimoji="1" lang="en-US" altLang="ja-JP" sz="1100" dirty="0">
              <a:solidFill>
                <a:srgbClr val="FF0000"/>
              </a:solidFill>
              <a:latin typeface="+mn-ea"/>
              <a:cs typeface="Meiryo UI" panose="020B0604030504040204" pitchFamily="50" charset="-128"/>
            </a:endParaRPr>
          </a:p>
          <a:p>
            <a:pPr marL="11113" algn="l"/>
            <a:endParaRPr lang="en-US" altLang="ja-JP" sz="1100" dirty="0">
              <a:solidFill>
                <a:srgbClr val="FF0000"/>
              </a:solidFill>
              <a:latin typeface="+mn-ea"/>
              <a:cs typeface="Meiryo UI" panose="020B0604030504040204" pitchFamily="50" charset="-128"/>
            </a:endParaRPr>
          </a:p>
          <a:p>
            <a:pPr marL="182563" indent="-171450" algn="l">
              <a:buFont typeface="Arial" panose="020B0604020202020204" pitchFamily="34" charset="0"/>
              <a:buChar char="•"/>
            </a:pPr>
            <a:r>
              <a:rPr kumimoji="1" lang="ja-JP" altLang="en-US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実現目標等を記載する際、必要に応じ、グラフ等を掲載いただくことも可能です</a:t>
            </a:r>
            <a:r>
              <a:rPr lang="ja-JP" altLang="en-US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。グラフを作成される場合の参考テンプレートを以下に記載しておりますので、適宜ご活用ください。</a:t>
            </a:r>
            <a:endParaRPr lang="en-US" altLang="ja-JP" sz="1100" dirty="0">
              <a:solidFill>
                <a:srgbClr val="FF0000"/>
              </a:solidFill>
              <a:latin typeface="+mn-ea"/>
              <a:cs typeface="Meiryo UI" panose="020B0604030504040204" pitchFamily="50" charset="-128"/>
            </a:endParaRPr>
          </a:p>
          <a:p>
            <a:pPr marL="11113" algn="l"/>
            <a:endParaRPr lang="en-US" altLang="ja-JP" sz="1100" dirty="0">
              <a:solidFill>
                <a:srgbClr val="FF0000"/>
              </a:solidFill>
              <a:latin typeface="+mn-ea"/>
              <a:cs typeface="Meiryo UI" panose="020B0604030504040204" pitchFamily="50" charset="-128"/>
            </a:endParaRPr>
          </a:p>
          <a:p>
            <a:pPr marL="182563" indent="-171450" algn="l">
              <a:buFont typeface="Arial" panose="020B0604020202020204" pitchFamily="34" charset="0"/>
              <a:buChar char="•"/>
            </a:pPr>
            <a:r>
              <a:rPr kumimoji="1" lang="ja-JP" altLang="en-US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グループ会社・子会社等で取り組む場合には、体制について補足いただけます。</a:t>
            </a:r>
            <a:endParaRPr kumimoji="1" lang="en-US" altLang="ja-JP" sz="1100" dirty="0">
              <a:solidFill>
                <a:srgbClr val="FF0000"/>
              </a:solidFill>
              <a:latin typeface="+mn-ea"/>
              <a:cs typeface="Meiryo UI" panose="020B0604030504040204" pitchFamily="50" charset="-128"/>
            </a:endParaRPr>
          </a:p>
          <a:p>
            <a:pPr marL="11113" algn="l"/>
            <a:endParaRPr lang="en-US" altLang="ja-JP" sz="1100" dirty="0">
              <a:solidFill>
                <a:srgbClr val="FF0000"/>
              </a:solidFill>
              <a:latin typeface="+mn-ea"/>
              <a:cs typeface="Meiryo UI" panose="020B0604030504040204" pitchFamily="50" charset="-128"/>
            </a:endParaRPr>
          </a:p>
          <a:p>
            <a:pPr marL="182563" indent="-171450" algn="l">
              <a:buFont typeface="Arial" panose="020B0604020202020204" pitchFamily="34" charset="0"/>
              <a:buChar char="•"/>
            </a:pPr>
            <a:r>
              <a:rPr kumimoji="1" lang="ja-JP" altLang="en-US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ひな形の次ページに、宣言趣旨に沿うような自社資料</a:t>
            </a:r>
            <a:r>
              <a:rPr kumimoji="1" lang="en-US" altLang="ja-JP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※</a:t>
            </a:r>
            <a:r>
              <a:rPr kumimoji="1" lang="ja-JP" altLang="en-US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（例えば会社概要）などを加えることも可能です。</a:t>
            </a:r>
            <a:r>
              <a:rPr kumimoji="1" lang="en-US" altLang="ja-JP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※</a:t>
            </a:r>
            <a:r>
              <a:rPr kumimoji="1" lang="ja-JP" altLang="en-US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営業を目的とするような資料については、掲載をお控えください。</a:t>
            </a:r>
          </a:p>
          <a:p>
            <a:pPr marL="11113" algn="l"/>
            <a:endParaRPr kumimoji="1" lang="ja-JP" altLang="en-US" sz="1100" dirty="0">
              <a:solidFill>
                <a:srgbClr val="FF0000"/>
              </a:solidFill>
              <a:latin typeface="+mn-ea"/>
              <a:cs typeface="Meiryo UI" panose="020B0604030504040204" pitchFamily="50" charset="-128"/>
            </a:endParaRP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40E1294F-55D0-F55A-5FBC-B078BF198928}"/>
              </a:ext>
            </a:extLst>
          </p:cNvPr>
          <p:cNvSpPr txBox="1"/>
          <p:nvPr/>
        </p:nvSpPr>
        <p:spPr>
          <a:xfrm>
            <a:off x="447866" y="6512555"/>
            <a:ext cx="747712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41288" indent="-131763"/>
            <a:r>
              <a:rPr kumimoji="1" lang="ja-JP" altLang="en-US" sz="1100" dirty="0">
                <a:latin typeface="+mn-ea"/>
                <a:cs typeface="Meiryo UI" panose="020B0604030504040204" pitchFamily="50" charset="-128"/>
              </a:rPr>
              <a:t>○法人番号：</a:t>
            </a:r>
            <a:r>
              <a:rPr kumimoji="1" lang="en-US" altLang="ja-JP" sz="1100" dirty="0">
                <a:latin typeface="+mn-ea"/>
                <a:cs typeface="Meiryo UI" panose="020B0604030504040204" pitchFamily="50" charset="-128"/>
              </a:rPr>
              <a:t>1111111111</a:t>
            </a:r>
            <a:r>
              <a:rPr kumimoji="1" lang="ja-JP" altLang="en-US" sz="1100" dirty="0">
                <a:latin typeface="+mn-ea"/>
                <a:cs typeface="Meiryo UI" panose="020B0604030504040204" pitchFamily="50" charset="-128"/>
              </a:rPr>
              <a:t>（○○社）、</a:t>
            </a:r>
            <a:r>
              <a:rPr kumimoji="1" lang="en-US" altLang="ja-JP" sz="1100" dirty="0">
                <a:latin typeface="+mn-ea"/>
                <a:cs typeface="Meiryo UI" panose="020B0604030504040204" pitchFamily="50" charset="-128"/>
              </a:rPr>
              <a:t>222222222</a:t>
            </a:r>
            <a:r>
              <a:rPr kumimoji="1" lang="ja-JP" altLang="en-US" sz="1100" dirty="0">
                <a:latin typeface="+mn-ea"/>
                <a:cs typeface="Meiryo UI" panose="020B0604030504040204" pitchFamily="50" charset="-128"/>
              </a:rPr>
              <a:t>（</a:t>
            </a:r>
            <a:r>
              <a:rPr kumimoji="1" lang="en-US" altLang="ja-JP" sz="1100" dirty="0">
                <a:latin typeface="+mn-ea"/>
                <a:cs typeface="Meiryo UI" panose="020B0604030504040204" pitchFamily="50" charset="-128"/>
              </a:rPr>
              <a:t>XX</a:t>
            </a:r>
            <a:r>
              <a:rPr kumimoji="1" lang="ja-JP" altLang="en-US" sz="1100" dirty="0">
                <a:latin typeface="+mn-ea"/>
                <a:cs typeface="Meiryo UI" panose="020B0604030504040204" pitchFamily="50" charset="-128"/>
              </a:rPr>
              <a:t>社）・・・</a:t>
            </a:r>
            <a:r>
              <a:rPr kumimoji="1" lang="en-US" altLang="ja-JP" sz="1100" dirty="0">
                <a:latin typeface="+mn-ea"/>
                <a:cs typeface="Meiryo UI" panose="020B0604030504040204" pitchFamily="50" charset="-128"/>
              </a:rPr>
              <a:t>【</a:t>
            </a:r>
            <a:r>
              <a:rPr kumimoji="1" lang="ja-JP" altLang="en-US" sz="1100" dirty="0">
                <a:latin typeface="+mn-ea"/>
                <a:cs typeface="Meiryo UI" panose="020B0604030504040204" pitchFamily="50" charset="-128"/>
              </a:rPr>
              <a:t>グループ企業全体での申請の場合追記</a:t>
            </a:r>
            <a:r>
              <a:rPr kumimoji="1" lang="en-US" altLang="ja-JP" sz="1100" dirty="0">
                <a:latin typeface="+mn-ea"/>
                <a:cs typeface="Meiryo UI" panose="020B0604030504040204" pitchFamily="50" charset="-128"/>
              </a:rPr>
              <a:t>】</a:t>
            </a:r>
          </a:p>
        </p:txBody>
      </p:sp>
      <p:sp>
        <p:nvSpPr>
          <p:cNvPr id="28" name="正方形/長方形 27">
            <a:extLst>
              <a:ext uri="{FF2B5EF4-FFF2-40B4-BE49-F238E27FC236}">
                <a16:creationId xmlns:a16="http://schemas.microsoft.com/office/drawing/2014/main" id="{7BF08DB4-0678-DD52-8C73-FAD5F807252C}"/>
              </a:ext>
            </a:extLst>
          </p:cNvPr>
          <p:cNvSpPr/>
          <p:nvPr/>
        </p:nvSpPr>
        <p:spPr>
          <a:xfrm>
            <a:off x="16388" y="-4497"/>
            <a:ext cx="12192000" cy="5878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29" name="正方形/長方形 28">
            <a:extLst>
              <a:ext uri="{FF2B5EF4-FFF2-40B4-BE49-F238E27FC236}">
                <a16:creationId xmlns:a16="http://schemas.microsoft.com/office/drawing/2014/main" id="{50543325-2D89-A4DD-0018-0EE072EE4A79}"/>
              </a:ext>
            </a:extLst>
          </p:cNvPr>
          <p:cNvSpPr/>
          <p:nvPr/>
        </p:nvSpPr>
        <p:spPr bwMode="auto">
          <a:xfrm>
            <a:off x="0" y="0"/>
            <a:ext cx="3095626" cy="58477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rtlCol="0" anchor="ctr"/>
          <a:lstStyle/>
          <a:p>
            <a:pPr algn="l"/>
            <a:endParaRPr kumimoji="0" lang="ja-JP" altLang="en-US" sz="1200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pic>
        <p:nvPicPr>
          <p:cNvPr id="30" name="図 29" descr="黒い背景に白い文字がある&#10;&#10;AI によって生成されたコンテンツは間違っている可能性があります。">
            <a:extLst>
              <a:ext uri="{FF2B5EF4-FFF2-40B4-BE49-F238E27FC236}">
                <a16:creationId xmlns:a16="http://schemas.microsoft.com/office/drawing/2014/main" id="{28A5DB44-9F90-C9B8-4623-EDA5266FADD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336" y="1802"/>
            <a:ext cx="2639615" cy="545022"/>
          </a:xfrm>
          <a:prstGeom prst="rect">
            <a:avLst/>
          </a:prstGeom>
        </p:spPr>
      </p:pic>
      <p:sp>
        <p:nvSpPr>
          <p:cNvPr id="31" name="タイトル 2">
            <a:extLst>
              <a:ext uri="{FF2B5EF4-FFF2-40B4-BE49-F238E27FC236}">
                <a16:creationId xmlns:a16="http://schemas.microsoft.com/office/drawing/2014/main" id="{531349CD-56FE-1346-3A2C-B1D0AAF086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7731" y="66980"/>
            <a:ext cx="8653290" cy="584775"/>
          </a:xfrm>
        </p:spPr>
        <p:txBody>
          <a:bodyPr/>
          <a:lstStyle/>
          <a:p>
            <a:r>
              <a:rPr kumimoji="1" lang="ja-JP" altLang="en-US">
                <a:solidFill>
                  <a:schemeClr val="bg1"/>
                </a:solidFill>
              </a:rPr>
              <a:t>株式会社○○○○</a:t>
            </a:r>
            <a:r>
              <a:rPr lang="ja-JP" altLang="en-US">
                <a:solidFill>
                  <a:schemeClr val="bg1"/>
                </a:solidFill>
              </a:rPr>
              <a:t>（</a:t>
            </a:r>
            <a:r>
              <a:rPr kumimoji="1" lang="ja-JP" altLang="en-US">
                <a:solidFill>
                  <a:schemeClr val="bg1"/>
                </a:solidFill>
              </a:rPr>
              <a:t>○○</a:t>
            </a:r>
            <a:r>
              <a:rPr lang="ja-JP" altLang="en-US">
                <a:solidFill>
                  <a:schemeClr val="bg1"/>
                </a:solidFill>
              </a:rPr>
              <a:t>業）</a:t>
            </a:r>
            <a:endParaRPr kumimoji="1" lang="ja-JP" altLang="en-US" dirty="0">
              <a:solidFill>
                <a:schemeClr val="bg1"/>
              </a:solidFill>
            </a:endParaRPr>
          </a:p>
        </p:txBody>
      </p:sp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AE2F20A0-D23F-0F64-1891-26919CB396AF}"/>
              </a:ext>
            </a:extLst>
          </p:cNvPr>
          <p:cNvGrpSpPr/>
          <p:nvPr/>
        </p:nvGrpSpPr>
        <p:grpSpPr>
          <a:xfrm>
            <a:off x="3809096" y="3429000"/>
            <a:ext cx="4663866" cy="2762250"/>
            <a:chOff x="7167154" y="3429001"/>
            <a:chExt cx="4663866" cy="2762250"/>
          </a:xfrm>
        </p:grpSpPr>
        <p:graphicFrame>
          <p:nvGraphicFramePr>
            <p:cNvPr id="11" name="グラフ 10">
              <a:extLst>
                <a:ext uri="{FF2B5EF4-FFF2-40B4-BE49-F238E27FC236}">
                  <a16:creationId xmlns:a16="http://schemas.microsoft.com/office/drawing/2014/main" id="{23955F30-A85C-33B8-AE02-750812918BDF}"/>
                </a:ext>
              </a:extLst>
            </p:cNvPr>
            <p:cNvGraphicFramePr/>
            <p:nvPr/>
          </p:nvGraphicFramePr>
          <p:xfrm>
            <a:off x="7167154" y="3429001"/>
            <a:ext cx="4663866" cy="276225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17" name="正方形/長方形 16">
              <a:extLst>
                <a:ext uri="{FF2B5EF4-FFF2-40B4-BE49-F238E27FC236}">
                  <a16:creationId xmlns:a16="http://schemas.microsoft.com/office/drawing/2014/main" id="{9D69FB7F-AF6B-0566-61D1-9C24BA159DF3}"/>
                </a:ext>
              </a:extLst>
            </p:cNvPr>
            <p:cNvSpPr/>
            <p:nvPr/>
          </p:nvSpPr>
          <p:spPr bwMode="auto">
            <a:xfrm>
              <a:off x="9758161" y="5797617"/>
              <a:ext cx="572135" cy="393634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4F50B6"/>
              </a:solidFill>
              <a:miter lim="800000"/>
              <a:headEnd/>
              <a:tailEnd/>
            </a:ln>
            <a:effectLst/>
          </p:spPr>
          <p:txBody>
            <a:bodyPr wrap="none" rtlCol="0" anchor="ctr"/>
            <a:lstStyle/>
            <a:p>
              <a:pPr algn="ctr"/>
              <a:r>
                <a:rPr kumimoji="0" lang="en-US" sz="1000" dirty="0">
                  <a:solidFill>
                    <a:srgbClr val="FFFFFF"/>
                  </a:solidFill>
                  <a:latin typeface="+mj-ea"/>
                  <a:ea typeface="+mj-ea"/>
                </a:rPr>
                <a:t>100</a:t>
              </a:r>
              <a:r>
                <a:rPr kumimoji="0" lang="ja-JP" altLang="en-US" sz="1000" dirty="0">
                  <a:solidFill>
                    <a:srgbClr val="FFFFFF"/>
                  </a:solidFill>
                  <a:latin typeface="+mj-ea"/>
                  <a:ea typeface="+mj-ea"/>
                </a:rPr>
                <a:t>億</a:t>
              </a:r>
              <a:endParaRPr kumimoji="0" lang="en-US" altLang="ja-JP" sz="1000" dirty="0">
                <a:solidFill>
                  <a:srgbClr val="FFFFFF"/>
                </a:solidFill>
                <a:latin typeface="+mj-ea"/>
                <a:ea typeface="+mj-ea"/>
              </a:endParaRPr>
            </a:p>
            <a:p>
              <a:pPr algn="ctr"/>
              <a:r>
                <a:rPr kumimoji="0" lang="ja-JP" altLang="en-US" sz="1000" dirty="0">
                  <a:solidFill>
                    <a:srgbClr val="FFFFFF"/>
                  </a:solidFill>
                  <a:latin typeface="+mj-ea"/>
                  <a:ea typeface="+mj-ea"/>
                </a:rPr>
                <a:t>達成</a:t>
              </a:r>
              <a:endParaRPr kumimoji="0" lang="en-US" sz="1000" dirty="0">
                <a:solidFill>
                  <a:srgbClr val="FFFFFF"/>
                </a:solidFill>
                <a:latin typeface="+mj-ea"/>
                <a:ea typeface="+mj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687543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39dcc26a-7131-49f4-a9eb-1c0521500c0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【機○・記載例なし】">
  <a:themeElements>
    <a:clrScheme name="10bil dec">
      <a:dk1>
        <a:srgbClr val="000000"/>
      </a:dk1>
      <a:lt1>
        <a:srgbClr val="FEFFFF"/>
      </a:lt1>
      <a:dk2>
        <a:srgbClr val="000000"/>
      </a:dk2>
      <a:lt2>
        <a:srgbClr val="F8FBFB"/>
      </a:lt2>
      <a:accent1>
        <a:srgbClr val="4F50B6"/>
      </a:accent1>
      <a:accent2>
        <a:srgbClr val="2E3B66"/>
      </a:accent2>
      <a:accent3>
        <a:srgbClr val="6774BF"/>
      </a:accent3>
      <a:accent4>
        <a:srgbClr val="727070"/>
      </a:accent4>
      <a:accent5>
        <a:srgbClr val="DBDDDD"/>
      </a:accent5>
      <a:accent6>
        <a:srgbClr val="F6F9F7"/>
      </a:accent6>
      <a:hlink>
        <a:srgbClr val="4F51B4"/>
      </a:hlink>
      <a:folHlink>
        <a:srgbClr val="80008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DDDDDD"/>
        </a:solidFill>
        <a:ln w="9525">
          <a:solidFill>
            <a:srgbClr val="B2B2B2"/>
          </a:solidFill>
          <a:miter lim="800000"/>
          <a:headEnd/>
          <a:tailEnd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wrap="square" rtlCol="0" anchor="ctr"/>
      <a:lstStyle>
        <a:defPPr algn="l">
          <a:defRPr kumimoji="0" sz="1200" dirty="0" smtClean="0">
            <a:latin typeface="+mj-ea"/>
            <a:ea typeface="+mj-ea"/>
          </a:defRPr>
        </a:defPPr>
      </a:lstStyle>
    </a:spDef>
    <a:txDef>
      <a:spPr>
        <a:noFill/>
      </a:spPr>
      <a:bodyPr wrap="square" rtlCol="0">
        <a:spAutoFit/>
      </a:bodyPr>
      <a:lstStyle>
        <a:defPPr marL="285750" indent="-285750" algn="l">
          <a:buFont typeface="Arial" panose="020B0604020202020204" pitchFamily="34" charset="0"/>
          <a:buChar char="•"/>
          <a:defRPr kumimoji="1" sz="1600" dirty="0" smtClean="0">
            <a:latin typeface="+mn-ea"/>
            <a:cs typeface="Meiryo UI" panose="020B0604030504040204" pitchFamily="50" charset="-128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プレゼンテーション1" id="{D8C861B6-498F-4F22-A8A9-3BAFC219480C}" vid="{9E769544-01F3-4BF8-B3A9-3F1EAE4A540E}"/>
    </a:ext>
  </a:extLst>
</a:theme>
</file>

<file path=ppt/theme/theme2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D882FEEAC1A0414A99C4CE87729722A6" ma:contentTypeVersion="10" ma:contentTypeDescription="新しいドキュメントを作成します。" ma:contentTypeScope="" ma:versionID="5116b8503d0db9e84758da84972e0c35">
  <xsd:schema xmlns:xsd="http://www.w3.org/2001/XMLSchema" xmlns:xs="http://www.w3.org/2001/XMLSchema" xmlns:p="http://schemas.microsoft.com/office/2006/metadata/properties" xmlns:ns3="0286c528-e9f0-44f4-ae93-27a347323fda" targetNamespace="http://schemas.microsoft.com/office/2006/metadata/properties" ma:root="true" ma:fieldsID="c1209fa9d86756195c58d921f1af6065" ns3:_="">
    <xsd:import namespace="0286c528-e9f0-44f4-ae93-27a347323fda"/>
    <xsd:element name="properties">
      <xsd:complexType>
        <xsd:sequence>
          <xsd:element name="documentManagement">
            <xsd:complexType>
              <xsd:all>
                <xsd:element ref="ns3:MediaServiceDateTaken" minOccurs="0"/>
                <xsd:element ref="ns3:_activity" minOccurs="0"/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  <xsd:element ref="ns3:MediaServiceSystemTags" minOccurs="0"/>
                <xsd:element ref="ns3:MediaServiceOCR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86c528-e9f0-44f4-ae93-27a347323fda" elementFormDefault="qualified">
    <xsd:import namespace="http://schemas.microsoft.com/office/2006/documentManagement/types"/>
    <xsd:import namespace="http://schemas.microsoft.com/office/infopath/2007/PartnerControls"/>
    <xsd:element name="MediaServiceDateTaken" ma:index="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_activity" ma:index="9" nillable="true" ma:displayName="_activity" ma:hidden="true" ma:internalName="_activity">
      <xsd:simpleType>
        <xsd:restriction base="dms:Note"/>
      </xsd:simpleType>
    </xsd:element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ystemTags" ma:index="1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0286c528-e9f0-44f4-ae93-27a347323fda" xsi:nil="true"/>
  </documentManagement>
</p:properties>
</file>

<file path=customXml/itemProps1.xml><?xml version="1.0" encoding="utf-8"?>
<ds:datastoreItem xmlns:ds="http://schemas.openxmlformats.org/officeDocument/2006/customXml" ds:itemID="{EA2CB9F8-AB17-4D35-9E80-EA6BCCB5305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286c528-e9f0-44f4-ae93-27a347323fd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809D394-E695-43FD-B84A-EF3054AEF12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F49A750-1FEE-4BB9-AB52-271CA7ECAD12}">
  <ds:schemaRefs>
    <ds:schemaRef ds:uri="http://schemas.microsoft.com/office/2006/documentManagement/types"/>
    <ds:schemaRef ds:uri="0286c528-e9f0-44f4-ae93-27a347323fda"/>
    <ds:schemaRef ds:uri="http://www.w3.org/XML/1998/namespace"/>
    <ds:schemaRef ds:uri="http://purl.org/dc/terms/"/>
    <ds:schemaRef ds:uri="http://purl.org/dc/elements/1.1/"/>
    <ds:schemaRef ds:uri="http://schemas.openxmlformats.org/package/2006/metadata/core-properties"/>
    <ds:schemaRef ds:uri="http://schemas.microsoft.com/office/2006/metadata/properties"/>
    <ds:schemaRef ds:uri="http://schemas.microsoft.com/office/infopath/2007/PartnerControl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907</TotalTime>
  <Words>523</Words>
  <Application>Microsoft Office PowerPoint</Application>
  <PresentationFormat>ワイド画面</PresentationFormat>
  <Paragraphs>45</Paragraphs>
  <Slides>2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</vt:i4>
      </vt:variant>
    </vt:vector>
  </HeadingPairs>
  <TitlesOfParts>
    <vt:vector size="9" baseType="lpstr">
      <vt:lpstr>Meiryo UI</vt:lpstr>
      <vt:lpstr>メイリオ</vt:lpstr>
      <vt:lpstr>游ゴシック</vt:lpstr>
      <vt:lpstr>Arial</vt:lpstr>
      <vt:lpstr>Wingdings</vt:lpstr>
      <vt:lpstr>【機○・記載例なし】</vt:lpstr>
      <vt:lpstr>think-cellスライド</vt:lpstr>
      <vt:lpstr>株式会社○○○○（○○業）</vt:lpstr>
      <vt:lpstr>株式会社○○○○（○○業）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subject/>
  <dc:creator>Windows ユーザー</dc:creator>
  <cp:keywords/>
  <dc:description/>
  <cp:lastModifiedBy>Windows ユーザー</cp:lastModifiedBy>
  <cp:revision>23</cp:revision>
  <cp:lastPrinted>2025-02-20T05:35:22Z</cp:lastPrinted>
  <dcterms:created xsi:type="dcterms:W3CDTF">2024-12-19T06:55:38Z</dcterms:created>
  <dcterms:modified xsi:type="dcterms:W3CDTF">2025-04-18T06:34:44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882FEEAC1A0414A99C4CE87729722A6</vt:lpwstr>
  </property>
  <property fmtid="{D5CDD505-2E9C-101B-9397-08002B2CF9AE}" pid="3" name="MSIP_Label_b0d5c4f4-7a29-4385-b7a5-afbe2154ae6f_Enabled">
    <vt:lpwstr>true</vt:lpwstr>
  </property>
  <property fmtid="{D5CDD505-2E9C-101B-9397-08002B2CF9AE}" pid="4" name="MSIP_Label_b0d5c4f4-7a29-4385-b7a5-afbe2154ae6f_SetDate">
    <vt:lpwstr>2025-02-14T06:41:58Z</vt:lpwstr>
  </property>
  <property fmtid="{D5CDD505-2E9C-101B-9397-08002B2CF9AE}" pid="5" name="MSIP_Label_b0d5c4f4-7a29-4385-b7a5-afbe2154ae6f_Method">
    <vt:lpwstr>Standard</vt:lpwstr>
  </property>
  <property fmtid="{D5CDD505-2E9C-101B-9397-08002B2CF9AE}" pid="6" name="MSIP_Label_b0d5c4f4-7a29-4385-b7a5-afbe2154ae6f_Name">
    <vt:lpwstr>Confidential</vt:lpwstr>
  </property>
  <property fmtid="{D5CDD505-2E9C-101B-9397-08002B2CF9AE}" pid="7" name="MSIP_Label_b0d5c4f4-7a29-4385-b7a5-afbe2154ae6f_SiteId">
    <vt:lpwstr>2dfb2f0b-4d21-4268-9559-72926144c918</vt:lpwstr>
  </property>
  <property fmtid="{D5CDD505-2E9C-101B-9397-08002B2CF9AE}" pid="8" name="MSIP_Label_b0d5c4f4-7a29-4385-b7a5-afbe2154ae6f_ActionId">
    <vt:lpwstr>4efb3a1e-2d82-4125-afff-e55da81f4680</vt:lpwstr>
  </property>
  <property fmtid="{D5CDD505-2E9C-101B-9397-08002B2CF9AE}" pid="9" name="MSIP_Label_b0d5c4f4-7a29-4385-b7a5-afbe2154ae6f_ContentBits">
    <vt:lpwstr>0</vt:lpwstr>
  </property>
  <property fmtid="{D5CDD505-2E9C-101B-9397-08002B2CF9AE}" pid="10" name="MSIP_Label_b0d5c4f4-7a29-4385-b7a5-afbe2154ae6f_Tag">
    <vt:lpwstr>10, 3, 0, 1</vt:lpwstr>
  </property>
</Properties>
</file>